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5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6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7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62" r:id="rId5"/>
    <p:sldMasterId id="2147483681" r:id="rId6"/>
    <p:sldMasterId id="2147483689" r:id="rId7"/>
    <p:sldMasterId id="2147483716" r:id="rId8"/>
    <p:sldMasterId id="2147483737" r:id="rId9"/>
    <p:sldMasterId id="2147483760" r:id="rId10"/>
  </p:sldMasterIdLst>
  <p:notesMasterIdLst>
    <p:notesMasterId r:id="rId20"/>
  </p:notesMasterIdLst>
  <p:sldIdLst>
    <p:sldId id="821" r:id="rId11"/>
    <p:sldId id="819" r:id="rId12"/>
    <p:sldId id="808" r:id="rId13"/>
    <p:sldId id="809" r:id="rId14"/>
    <p:sldId id="800" r:id="rId15"/>
    <p:sldId id="813" r:id="rId16"/>
    <p:sldId id="822" r:id="rId17"/>
    <p:sldId id="797" r:id="rId18"/>
    <p:sldId id="807" r:id="rId19"/>
  </p:sldIdLst>
  <p:sldSz cx="12192000" cy="6858000"/>
  <p:notesSz cx="9872663" cy="6797675"/>
  <p:custDataLst>
    <p:tags r:id="rId21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3840" userDrawn="1">
          <p15:clr>
            <a:srgbClr val="A4A3A4"/>
          </p15:clr>
        </p15:guide>
        <p15:guide id="4" pos="7151" userDrawn="1">
          <p15:clr>
            <a:srgbClr val="A4A3A4"/>
          </p15:clr>
        </p15:guide>
        <p15:guide id="7" orient="horz" pos="2319" userDrawn="1">
          <p15:clr>
            <a:srgbClr val="A4A3A4"/>
          </p15:clr>
        </p15:guide>
        <p15:guide id="8" orient="horz" pos="361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F3F1F"/>
    <a:srgbClr val="9E6934"/>
    <a:srgbClr val="EBD7C3"/>
    <a:srgbClr val="3B5776"/>
    <a:srgbClr val="7DB094"/>
    <a:srgbClr val="6E4924"/>
    <a:srgbClr val="D36247"/>
    <a:srgbClr val="8EB8C9"/>
    <a:srgbClr val="D46248"/>
    <a:srgbClr val="D9E7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89B6D94-F5A5-44C7-835F-DAA863998538}" v="3" dt="2023-01-29T16:45:30.97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 varScale="1">
        <p:scale>
          <a:sx n="66" d="100"/>
          <a:sy n="66" d="100"/>
        </p:scale>
        <p:origin x="0" y="0"/>
      </p:cViewPr>
      <p:guideLst>
        <p:guide pos="3840"/>
        <p:guide pos="7151"/>
        <p:guide orient="horz" pos="2319"/>
        <p:guide orient="horz" pos="3612"/>
      </p:guideLst>
    </p:cSldViewPr>
  </p:slide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ia Areblad" userId="5381bec0-a61b-42ac-a7c8-5a8288fe8380" providerId="ADAL" clId="{089B6D94-F5A5-44C7-835F-DAA863998538}"/>
    <pc:docChg chg="custSel delSld modSld delMainMaster">
      <pc:chgData name="Pia Areblad" userId="5381bec0-a61b-42ac-a7c8-5a8288fe8380" providerId="ADAL" clId="{089B6D94-F5A5-44C7-835F-DAA863998538}" dt="2023-01-29T16:45:54.061" v="70" actId="14100"/>
      <pc:docMkLst>
        <pc:docMk/>
      </pc:docMkLst>
      <pc:sldChg chg="del">
        <pc:chgData name="Pia Areblad" userId="5381bec0-a61b-42ac-a7c8-5a8288fe8380" providerId="ADAL" clId="{089B6D94-F5A5-44C7-835F-DAA863998538}" dt="2023-01-29T16:44:41.091" v="46" actId="2696"/>
        <pc:sldMkLst>
          <pc:docMk/>
          <pc:sldMk cId="2396332871" sldId="256"/>
        </pc:sldMkLst>
      </pc:sldChg>
      <pc:sldChg chg="del">
        <pc:chgData name="Pia Areblad" userId="5381bec0-a61b-42ac-a7c8-5a8288fe8380" providerId="ADAL" clId="{089B6D94-F5A5-44C7-835F-DAA863998538}" dt="2023-01-29T16:44:41.091" v="46" actId="2696"/>
        <pc:sldMkLst>
          <pc:docMk/>
          <pc:sldMk cId="4149553547" sldId="260"/>
        </pc:sldMkLst>
      </pc:sldChg>
      <pc:sldChg chg="del">
        <pc:chgData name="Pia Areblad" userId="5381bec0-a61b-42ac-a7c8-5a8288fe8380" providerId="ADAL" clId="{089B6D94-F5A5-44C7-835F-DAA863998538}" dt="2023-01-29T16:44:41.091" v="46" actId="2696"/>
        <pc:sldMkLst>
          <pc:docMk/>
          <pc:sldMk cId="1113137720" sldId="262"/>
        </pc:sldMkLst>
      </pc:sldChg>
      <pc:sldChg chg="del">
        <pc:chgData name="Pia Areblad" userId="5381bec0-a61b-42ac-a7c8-5a8288fe8380" providerId="ADAL" clId="{089B6D94-F5A5-44C7-835F-DAA863998538}" dt="2023-01-29T16:44:41.091" v="46" actId="2696"/>
        <pc:sldMkLst>
          <pc:docMk/>
          <pc:sldMk cId="1721591902" sldId="263"/>
        </pc:sldMkLst>
      </pc:sldChg>
      <pc:sldChg chg="del">
        <pc:chgData name="Pia Areblad" userId="5381bec0-a61b-42ac-a7c8-5a8288fe8380" providerId="ADAL" clId="{089B6D94-F5A5-44C7-835F-DAA863998538}" dt="2023-01-29T16:44:41.091" v="46" actId="2696"/>
        <pc:sldMkLst>
          <pc:docMk/>
          <pc:sldMk cId="630030982" sldId="264"/>
        </pc:sldMkLst>
      </pc:sldChg>
      <pc:sldChg chg="del">
        <pc:chgData name="Pia Areblad" userId="5381bec0-a61b-42ac-a7c8-5a8288fe8380" providerId="ADAL" clId="{089B6D94-F5A5-44C7-835F-DAA863998538}" dt="2023-01-29T16:44:41.091" v="46" actId="2696"/>
        <pc:sldMkLst>
          <pc:docMk/>
          <pc:sldMk cId="1906818921" sldId="266"/>
        </pc:sldMkLst>
      </pc:sldChg>
      <pc:sldChg chg="del">
        <pc:chgData name="Pia Areblad" userId="5381bec0-a61b-42ac-a7c8-5a8288fe8380" providerId="ADAL" clId="{089B6D94-F5A5-44C7-835F-DAA863998538}" dt="2023-01-29T16:44:41.091" v="46" actId="2696"/>
        <pc:sldMkLst>
          <pc:docMk/>
          <pc:sldMk cId="2415251444" sldId="267"/>
        </pc:sldMkLst>
      </pc:sldChg>
      <pc:sldChg chg="del">
        <pc:chgData name="Pia Areblad" userId="5381bec0-a61b-42ac-a7c8-5a8288fe8380" providerId="ADAL" clId="{089B6D94-F5A5-44C7-835F-DAA863998538}" dt="2023-01-29T16:44:41.091" v="46" actId="2696"/>
        <pc:sldMkLst>
          <pc:docMk/>
          <pc:sldMk cId="1691785489" sldId="270"/>
        </pc:sldMkLst>
      </pc:sldChg>
      <pc:sldChg chg="del">
        <pc:chgData name="Pia Areblad" userId="5381bec0-a61b-42ac-a7c8-5a8288fe8380" providerId="ADAL" clId="{089B6D94-F5A5-44C7-835F-DAA863998538}" dt="2023-01-29T16:44:41.091" v="46" actId="2696"/>
        <pc:sldMkLst>
          <pc:docMk/>
          <pc:sldMk cId="1004182602" sldId="271"/>
        </pc:sldMkLst>
      </pc:sldChg>
      <pc:sldChg chg="del">
        <pc:chgData name="Pia Areblad" userId="5381bec0-a61b-42ac-a7c8-5a8288fe8380" providerId="ADAL" clId="{089B6D94-F5A5-44C7-835F-DAA863998538}" dt="2023-01-29T16:44:41.091" v="46" actId="2696"/>
        <pc:sldMkLst>
          <pc:docMk/>
          <pc:sldMk cId="55144923" sldId="272"/>
        </pc:sldMkLst>
      </pc:sldChg>
      <pc:sldChg chg="del">
        <pc:chgData name="Pia Areblad" userId="5381bec0-a61b-42ac-a7c8-5a8288fe8380" providerId="ADAL" clId="{089B6D94-F5A5-44C7-835F-DAA863998538}" dt="2023-01-29T16:44:41.091" v="46" actId="2696"/>
        <pc:sldMkLst>
          <pc:docMk/>
          <pc:sldMk cId="277076484" sldId="273"/>
        </pc:sldMkLst>
      </pc:sldChg>
      <pc:sldChg chg="del">
        <pc:chgData name="Pia Areblad" userId="5381bec0-a61b-42ac-a7c8-5a8288fe8380" providerId="ADAL" clId="{089B6D94-F5A5-44C7-835F-DAA863998538}" dt="2023-01-29T16:44:41.091" v="46" actId="2696"/>
        <pc:sldMkLst>
          <pc:docMk/>
          <pc:sldMk cId="284398836" sldId="277"/>
        </pc:sldMkLst>
      </pc:sldChg>
      <pc:sldChg chg="del">
        <pc:chgData name="Pia Areblad" userId="5381bec0-a61b-42ac-a7c8-5a8288fe8380" providerId="ADAL" clId="{089B6D94-F5A5-44C7-835F-DAA863998538}" dt="2023-01-29T16:44:41.091" v="46" actId="2696"/>
        <pc:sldMkLst>
          <pc:docMk/>
          <pc:sldMk cId="2744620750" sldId="281"/>
        </pc:sldMkLst>
      </pc:sldChg>
      <pc:sldChg chg="del">
        <pc:chgData name="Pia Areblad" userId="5381bec0-a61b-42ac-a7c8-5a8288fe8380" providerId="ADAL" clId="{089B6D94-F5A5-44C7-835F-DAA863998538}" dt="2023-01-29T16:44:41.091" v="46" actId="2696"/>
        <pc:sldMkLst>
          <pc:docMk/>
          <pc:sldMk cId="3110740710" sldId="285"/>
        </pc:sldMkLst>
      </pc:sldChg>
      <pc:sldChg chg="del">
        <pc:chgData name="Pia Areblad" userId="5381bec0-a61b-42ac-a7c8-5a8288fe8380" providerId="ADAL" clId="{089B6D94-F5A5-44C7-835F-DAA863998538}" dt="2023-01-29T16:44:41.091" v="46" actId="2696"/>
        <pc:sldMkLst>
          <pc:docMk/>
          <pc:sldMk cId="3564280881" sldId="286"/>
        </pc:sldMkLst>
      </pc:sldChg>
      <pc:sldChg chg="del">
        <pc:chgData name="Pia Areblad" userId="5381bec0-a61b-42ac-a7c8-5a8288fe8380" providerId="ADAL" clId="{089B6D94-F5A5-44C7-835F-DAA863998538}" dt="2023-01-29T16:44:41.091" v="46" actId="2696"/>
        <pc:sldMkLst>
          <pc:docMk/>
          <pc:sldMk cId="3472079456" sldId="287"/>
        </pc:sldMkLst>
      </pc:sldChg>
      <pc:sldChg chg="del">
        <pc:chgData name="Pia Areblad" userId="5381bec0-a61b-42ac-a7c8-5a8288fe8380" providerId="ADAL" clId="{089B6D94-F5A5-44C7-835F-DAA863998538}" dt="2023-01-29T16:44:41.091" v="46" actId="2696"/>
        <pc:sldMkLst>
          <pc:docMk/>
          <pc:sldMk cId="1341529291" sldId="336"/>
        </pc:sldMkLst>
      </pc:sldChg>
      <pc:sldChg chg="modSp mod">
        <pc:chgData name="Pia Areblad" userId="5381bec0-a61b-42ac-a7c8-5a8288fe8380" providerId="ADAL" clId="{089B6D94-F5A5-44C7-835F-DAA863998538}" dt="2023-01-29T16:45:54.061" v="70" actId="14100"/>
        <pc:sldMkLst>
          <pc:docMk/>
          <pc:sldMk cId="2875342694" sldId="797"/>
        </pc:sldMkLst>
        <pc:graphicFrameChg chg="mod modGraphic">
          <ac:chgData name="Pia Areblad" userId="5381bec0-a61b-42ac-a7c8-5a8288fe8380" providerId="ADAL" clId="{089B6D94-F5A5-44C7-835F-DAA863998538}" dt="2023-01-29T16:45:54.061" v="70" actId="14100"/>
          <ac:graphicFrameMkLst>
            <pc:docMk/>
            <pc:sldMk cId="2875342694" sldId="797"/>
            <ac:graphicFrameMk id="7" creationId="{524CB496-6FFD-4EFF-A982-DA5D9BEBF12A}"/>
          </ac:graphicFrameMkLst>
        </pc:graphicFrameChg>
      </pc:sldChg>
      <pc:sldChg chg="del">
        <pc:chgData name="Pia Areblad" userId="5381bec0-a61b-42ac-a7c8-5a8288fe8380" providerId="ADAL" clId="{089B6D94-F5A5-44C7-835F-DAA863998538}" dt="2023-01-29T16:44:41.091" v="46" actId="2696"/>
        <pc:sldMkLst>
          <pc:docMk/>
          <pc:sldMk cId="1852047687" sldId="810"/>
        </pc:sldMkLst>
      </pc:sldChg>
      <pc:sldChg chg="del">
        <pc:chgData name="Pia Areblad" userId="5381bec0-a61b-42ac-a7c8-5a8288fe8380" providerId="ADAL" clId="{089B6D94-F5A5-44C7-835F-DAA863998538}" dt="2023-01-29T16:44:41.091" v="46" actId="2696"/>
        <pc:sldMkLst>
          <pc:docMk/>
          <pc:sldMk cId="180072672" sldId="811"/>
        </pc:sldMkLst>
      </pc:sldChg>
      <pc:sldChg chg="modSp mod">
        <pc:chgData name="Pia Areblad" userId="5381bec0-a61b-42ac-a7c8-5a8288fe8380" providerId="ADAL" clId="{089B6D94-F5A5-44C7-835F-DAA863998538}" dt="2023-01-29T16:44:54.628" v="63" actId="20577"/>
        <pc:sldMkLst>
          <pc:docMk/>
          <pc:sldMk cId="4276325247" sldId="821"/>
        </pc:sldMkLst>
        <pc:spChg chg="mod">
          <ac:chgData name="Pia Areblad" userId="5381bec0-a61b-42ac-a7c8-5a8288fe8380" providerId="ADAL" clId="{089B6D94-F5A5-44C7-835F-DAA863998538}" dt="2023-01-29T16:44:54.628" v="63" actId="20577"/>
          <ac:spMkLst>
            <pc:docMk/>
            <pc:sldMk cId="4276325247" sldId="821"/>
            <ac:spMk id="6" creationId="{33BA5C5C-76FB-3A1C-675A-C8CB180BAA62}"/>
          </ac:spMkLst>
        </pc:spChg>
        <pc:spChg chg="mod">
          <ac:chgData name="Pia Areblad" userId="5381bec0-a61b-42ac-a7c8-5a8288fe8380" providerId="ADAL" clId="{089B6D94-F5A5-44C7-835F-DAA863998538}" dt="2023-01-29T16:44:47.045" v="52" actId="20577"/>
          <ac:spMkLst>
            <pc:docMk/>
            <pc:sldMk cId="4276325247" sldId="821"/>
            <ac:spMk id="7" creationId="{81A7EEF3-D793-1D8F-FAD4-47A130BA6D2F}"/>
          </ac:spMkLst>
        </pc:spChg>
      </pc:sldChg>
      <pc:sldChg chg="modSp mod">
        <pc:chgData name="Pia Areblad" userId="5381bec0-a61b-42ac-a7c8-5a8288fe8380" providerId="ADAL" clId="{089B6D94-F5A5-44C7-835F-DAA863998538}" dt="2023-01-29T16:43:43.332" v="44" actId="207"/>
        <pc:sldMkLst>
          <pc:docMk/>
          <pc:sldMk cId="4135024711" sldId="822"/>
        </pc:sldMkLst>
        <pc:graphicFrameChg chg="mod modGraphic">
          <ac:chgData name="Pia Areblad" userId="5381bec0-a61b-42ac-a7c8-5a8288fe8380" providerId="ADAL" clId="{089B6D94-F5A5-44C7-835F-DAA863998538}" dt="2023-01-29T16:43:43.332" v="44" actId="207"/>
          <ac:graphicFrameMkLst>
            <pc:docMk/>
            <pc:sldMk cId="4135024711" sldId="822"/>
            <ac:graphicFrameMk id="7" creationId="{524CB496-6FFD-4EFF-A982-DA5D9BEBF12A}"/>
          </ac:graphicFrameMkLst>
        </pc:graphicFrameChg>
      </pc:sldChg>
      <pc:sldMasterChg chg="del delSldLayout">
        <pc:chgData name="Pia Areblad" userId="5381bec0-a61b-42ac-a7c8-5a8288fe8380" providerId="ADAL" clId="{089B6D94-F5A5-44C7-835F-DAA863998538}" dt="2023-01-29T16:44:41.091" v="46" actId="2696"/>
        <pc:sldMasterMkLst>
          <pc:docMk/>
          <pc:sldMasterMk cId="60146696" sldId="2147483781"/>
        </pc:sldMasterMkLst>
        <pc:sldLayoutChg chg="del">
          <pc:chgData name="Pia Areblad" userId="5381bec0-a61b-42ac-a7c8-5a8288fe8380" providerId="ADAL" clId="{089B6D94-F5A5-44C7-835F-DAA863998538}" dt="2023-01-29T16:44:41.091" v="46" actId="2696"/>
          <pc:sldLayoutMkLst>
            <pc:docMk/>
            <pc:sldMasterMk cId="60146696" sldId="2147483781"/>
            <pc:sldLayoutMk cId="2720540305" sldId="2147483782"/>
          </pc:sldLayoutMkLst>
        </pc:sldLayoutChg>
        <pc:sldLayoutChg chg="del">
          <pc:chgData name="Pia Areblad" userId="5381bec0-a61b-42ac-a7c8-5a8288fe8380" providerId="ADAL" clId="{089B6D94-F5A5-44C7-835F-DAA863998538}" dt="2023-01-29T16:44:41.091" v="46" actId="2696"/>
          <pc:sldLayoutMkLst>
            <pc:docMk/>
            <pc:sldMasterMk cId="60146696" sldId="2147483781"/>
            <pc:sldLayoutMk cId="98793105" sldId="2147483783"/>
          </pc:sldLayoutMkLst>
        </pc:sldLayoutChg>
        <pc:sldLayoutChg chg="del">
          <pc:chgData name="Pia Areblad" userId="5381bec0-a61b-42ac-a7c8-5a8288fe8380" providerId="ADAL" clId="{089B6D94-F5A5-44C7-835F-DAA863998538}" dt="2023-01-29T16:44:41.091" v="46" actId="2696"/>
          <pc:sldLayoutMkLst>
            <pc:docMk/>
            <pc:sldMasterMk cId="60146696" sldId="2147483781"/>
            <pc:sldLayoutMk cId="3432107706" sldId="2147483784"/>
          </pc:sldLayoutMkLst>
        </pc:sldLayoutChg>
        <pc:sldLayoutChg chg="del">
          <pc:chgData name="Pia Areblad" userId="5381bec0-a61b-42ac-a7c8-5a8288fe8380" providerId="ADAL" clId="{089B6D94-F5A5-44C7-835F-DAA863998538}" dt="2023-01-29T16:44:41.091" v="46" actId="2696"/>
          <pc:sldLayoutMkLst>
            <pc:docMk/>
            <pc:sldMasterMk cId="60146696" sldId="2147483781"/>
            <pc:sldLayoutMk cId="3551884838" sldId="2147483785"/>
          </pc:sldLayoutMkLst>
        </pc:sldLayoutChg>
        <pc:sldLayoutChg chg="del">
          <pc:chgData name="Pia Areblad" userId="5381bec0-a61b-42ac-a7c8-5a8288fe8380" providerId="ADAL" clId="{089B6D94-F5A5-44C7-835F-DAA863998538}" dt="2023-01-29T16:44:41.091" v="46" actId="2696"/>
          <pc:sldLayoutMkLst>
            <pc:docMk/>
            <pc:sldMasterMk cId="60146696" sldId="2147483781"/>
            <pc:sldLayoutMk cId="245703027" sldId="2147483786"/>
          </pc:sldLayoutMkLst>
        </pc:sldLayoutChg>
        <pc:sldLayoutChg chg="del">
          <pc:chgData name="Pia Areblad" userId="5381bec0-a61b-42ac-a7c8-5a8288fe8380" providerId="ADAL" clId="{089B6D94-F5A5-44C7-835F-DAA863998538}" dt="2023-01-29T16:44:41.091" v="46" actId="2696"/>
          <pc:sldLayoutMkLst>
            <pc:docMk/>
            <pc:sldMasterMk cId="60146696" sldId="2147483781"/>
            <pc:sldLayoutMk cId="1727945543" sldId="2147483787"/>
          </pc:sldLayoutMkLst>
        </pc:sldLayoutChg>
        <pc:sldLayoutChg chg="del">
          <pc:chgData name="Pia Areblad" userId="5381bec0-a61b-42ac-a7c8-5a8288fe8380" providerId="ADAL" clId="{089B6D94-F5A5-44C7-835F-DAA863998538}" dt="2023-01-29T16:44:41.091" v="46" actId="2696"/>
          <pc:sldLayoutMkLst>
            <pc:docMk/>
            <pc:sldMasterMk cId="60146696" sldId="2147483781"/>
            <pc:sldLayoutMk cId="1310928184" sldId="2147483788"/>
          </pc:sldLayoutMkLst>
        </pc:sldLayoutChg>
        <pc:sldLayoutChg chg="del">
          <pc:chgData name="Pia Areblad" userId="5381bec0-a61b-42ac-a7c8-5a8288fe8380" providerId="ADAL" clId="{089B6D94-F5A5-44C7-835F-DAA863998538}" dt="2023-01-29T16:44:41.091" v="46" actId="2696"/>
          <pc:sldLayoutMkLst>
            <pc:docMk/>
            <pc:sldMasterMk cId="60146696" sldId="2147483781"/>
            <pc:sldLayoutMk cId="697192197" sldId="2147483789"/>
          </pc:sldLayoutMkLst>
        </pc:sldLayoutChg>
        <pc:sldLayoutChg chg="del">
          <pc:chgData name="Pia Areblad" userId="5381bec0-a61b-42ac-a7c8-5a8288fe8380" providerId="ADAL" clId="{089B6D94-F5A5-44C7-835F-DAA863998538}" dt="2023-01-29T16:44:41.091" v="46" actId="2696"/>
          <pc:sldLayoutMkLst>
            <pc:docMk/>
            <pc:sldMasterMk cId="60146696" sldId="2147483781"/>
            <pc:sldLayoutMk cId="512239310" sldId="2147483790"/>
          </pc:sldLayoutMkLst>
        </pc:sldLayoutChg>
        <pc:sldLayoutChg chg="del">
          <pc:chgData name="Pia Areblad" userId="5381bec0-a61b-42ac-a7c8-5a8288fe8380" providerId="ADAL" clId="{089B6D94-F5A5-44C7-835F-DAA863998538}" dt="2023-01-29T16:44:41.091" v="46" actId="2696"/>
          <pc:sldLayoutMkLst>
            <pc:docMk/>
            <pc:sldMasterMk cId="60146696" sldId="2147483781"/>
            <pc:sldLayoutMk cId="2597163359" sldId="2147483791"/>
          </pc:sldLayoutMkLst>
        </pc:sldLayoutChg>
        <pc:sldLayoutChg chg="del">
          <pc:chgData name="Pia Areblad" userId="5381bec0-a61b-42ac-a7c8-5a8288fe8380" providerId="ADAL" clId="{089B6D94-F5A5-44C7-835F-DAA863998538}" dt="2023-01-29T16:44:41.091" v="46" actId="2696"/>
          <pc:sldLayoutMkLst>
            <pc:docMk/>
            <pc:sldMasterMk cId="60146696" sldId="2147483781"/>
            <pc:sldLayoutMk cId="2230892003" sldId="2147483792"/>
          </pc:sldLayoutMkLst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6B9F93D-C168-4C96-A235-6BD93D36A608}" type="doc">
      <dgm:prSet loTypeId="urn:microsoft.com/office/officeart/2005/8/layout/cycle1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sv-SE"/>
        </a:p>
      </dgm:t>
    </dgm:pt>
    <dgm:pt modelId="{ED00BED9-CDBE-415D-BAA7-4BD9E8179113}">
      <dgm:prSet phldrT="[Text]"/>
      <dgm:spPr/>
      <dgm:t>
        <a:bodyPr/>
        <a:lstStyle/>
        <a:p>
          <a:pPr rtl="0"/>
          <a:r>
            <a:rPr lang="sv-SE"/>
            <a:t>Ta fram HP, </a:t>
          </a:r>
          <a:r>
            <a:rPr lang="sv-SE">
              <a:latin typeface="Arial"/>
            </a:rPr>
            <a:t>Kalibrera hur</a:t>
          </a:r>
          <a:r>
            <a:rPr lang="sv-SE"/>
            <a:t> alla </a:t>
          </a:r>
          <a:r>
            <a:rPr lang="sv-SE">
              <a:latin typeface="Arial"/>
            </a:rPr>
            <a:t>förvaltningar och </a:t>
          </a:r>
          <a:r>
            <a:rPr lang="sv-SE"/>
            <a:t>bolag </a:t>
          </a:r>
          <a:r>
            <a:rPr lang="sv-SE">
              <a:latin typeface="Arial"/>
            </a:rPr>
            <a:t>kan bidra</a:t>
          </a:r>
          <a:r>
            <a:rPr lang="sv-SE"/>
            <a:t>?</a:t>
          </a:r>
        </a:p>
      </dgm:t>
    </dgm:pt>
    <dgm:pt modelId="{1B1A2BCE-693A-40FE-AA65-804FCF9A36AA}" type="parTrans" cxnId="{62E3B0A1-C43F-4EAF-B5F5-60C37B90664F}">
      <dgm:prSet/>
      <dgm:spPr/>
      <dgm:t>
        <a:bodyPr/>
        <a:lstStyle/>
        <a:p>
          <a:endParaRPr lang="sv-SE"/>
        </a:p>
      </dgm:t>
    </dgm:pt>
    <dgm:pt modelId="{5DB821A1-AB4A-4C9E-B326-7DB0C3378544}" type="sibTrans" cxnId="{62E3B0A1-C43F-4EAF-B5F5-60C37B90664F}">
      <dgm:prSet/>
      <dgm:spPr/>
      <dgm:t>
        <a:bodyPr/>
        <a:lstStyle/>
        <a:p>
          <a:endParaRPr lang="sv-SE"/>
        </a:p>
      </dgm:t>
    </dgm:pt>
    <dgm:pt modelId="{170C2C9B-C9A5-4B9C-8E89-CEA12B1BBAB9}">
      <dgm:prSet phldrT="[Text]"/>
      <dgm:spPr/>
      <dgm:t>
        <a:bodyPr/>
        <a:lstStyle/>
        <a:p>
          <a:r>
            <a:rPr lang="sv-SE"/>
            <a:t>Följa upp/hantera motstånd</a:t>
          </a:r>
        </a:p>
      </dgm:t>
    </dgm:pt>
    <dgm:pt modelId="{69B7FA12-7D19-4557-998B-DE7487A048BC}" type="parTrans" cxnId="{426D3C64-94E1-4DCE-9418-722377F8FA83}">
      <dgm:prSet/>
      <dgm:spPr/>
      <dgm:t>
        <a:bodyPr/>
        <a:lstStyle/>
        <a:p>
          <a:endParaRPr lang="sv-SE"/>
        </a:p>
      </dgm:t>
    </dgm:pt>
    <dgm:pt modelId="{5D1C8381-DCC2-4ADD-BFCA-702BEFDC46F3}" type="sibTrans" cxnId="{426D3C64-94E1-4DCE-9418-722377F8FA83}">
      <dgm:prSet/>
      <dgm:spPr/>
      <dgm:t>
        <a:bodyPr/>
        <a:lstStyle/>
        <a:p>
          <a:endParaRPr lang="sv-SE"/>
        </a:p>
      </dgm:t>
    </dgm:pt>
    <dgm:pt modelId="{B7442F7E-0CAF-437B-9077-4DABAB519E11}">
      <dgm:prSet phldrT="[Text]"/>
      <dgm:spPr/>
      <dgm:t>
        <a:bodyPr/>
        <a:lstStyle/>
        <a:p>
          <a:r>
            <a:rPr lang="sv-SE"/>
            <a:t>Synliggöra resultat/fira</a:t>
          </a:r>
        </a:p>
      </dgm:t>
    </dgm:pt>
    <dgm:pt modelId="{41C0C835-A98D-4587-ABDC-803636F037FB}" type="parTrans" cxnId="{B18335D2-6F34-46C2-B478-DED1DE36B350}">
      <dgm:prSet/>
      <dgm:spPr/>
      <dgm:t>
        <a:bodyPr/>
        <a:lstStyle/>
        <a:p>
          <a:endParaRPr lang="sv-SE"/>
        </a:p>
      </dgm:t>
    </dgm:pt>
    <dgm:pt modelId="{C4532D39-3C52-4839-B327-DFD076EA1438}" type="sibTrans" cxnId="{B18335D2-6F34-46C2-B478-DED1DE36B350}">
      <dgm:prSet/>
      <dgm:spPr/>
      <dgm:t>
        <a:bodyPr/>
        <a:lstStyle/>
        <a:p>
          <a:endParaRPr lang="sv-SE"/>
        </a:p>
      </dgm:t>
    </dgm:pt>
    <dgm:pt modelId="{D989D051-C5C1-4F60-AB4A-A1A34FD51956}">
      <dgm:prSet phldrT="[Text]"/>
      <dgm:spPr/>
      <dgm:t>
        <a:bodyPr/>
        <a:lstStyle/>
        <a:p>
          <a:r>
            <a:rPr lang="sv-SE"/>
            <a:t>Stämma av med målgrupp, 2 ggr per HP</a:t>
          </a:r>
        </a:p>
      </dgm:t>
    </dgm:pt>
    <dgm:pt modelId="{75D3457C-2E15-4A7C-A84E-ACE1AFFD26AE}" type="parTrans" cxnId="{1EE755E8-7A22-4383-B393-1E5E08DBF7E0}">
      <dgm:prSet/>
      <dgm:spPr/>
      <dgm:t>
        <a:bodyPr/>
        <a:lstStyle/>
        <a:p>
          <a:endParaRPr lang="sv-SE"/>
        </a:p>
      </dgm:t>
    </dgm:pt>
    <dgm:pt modelId="{05CB4D24-69A7-4F4E-B57B-5AFF0F6AAFD9}" type="sibTrans" cxnId="{1EE755E8-7A22-4383-B393-1E5E08DBF7E0}">
      <dgm:prSet/>
      <dgm:spPr/>
      <dgm:t>
        <a:bodyPr/>
        <a:lstStyle/>
        <a:p>
          <a:endParaRPr lang="sv-SE"/>
        </a:p>
      </dgm:t>
    </dgm:pt>
    <dgm:pt modelId="{C63469B7-1955-43E4-8F23-1D6BDC1F4136}">
      <dgm:prSet phldrT="[Text]"/>
      <dgm:spPr/>
      <dgm:t>
        <a:bodyPr/>
        <a:lstStyle/>
        <a:p>
          <a:r>
            <a:rPr lang="sv-SE"/>
            <a:t>Identifiera avgränsningar/välja bort</a:t>
          </a:r>
        </a:p>
      </dgm:t>
    </dgm:pt>
    <dgm:pt modelId="{210931E7-D1BC-40F1-96F4-C8AD0D190142}" type="parTrans" cxnId="{7FC99486-1476-4173-896E-8D299868C147}">
      <dgm:prSet/>
      <dgm:spPr/>
      <dgm:t>
        <a:bodyPr/>
        <a:lstStyle/>
        <a:p>
          <a:endParaRPr lang="sv-SE"/>
        </a:p>
      </dgm:t>
    </dgm:pt>
    <dgm:pt modelId="{444E9F27-DB06-4C75-8A70-C1DB343B42B3}" type="sibTrans" cxnId="{7FC99486-1476-4173-896E-8D299868C147}">
      <dgm:prSet/>
      <dgm:spPr/>
      <dgm:t>
        <a:bodyPr/>
        <a:lstStyle/>
        <a:p>
          <a:endParaRPr lang="sv-SE"/>
        </a:p>
      </dgm:t>
    </dgm:pt>
    <dgm:pt modelId="{AB694DB7-D887-45B9-9CE5-3638316F14D9}" type="pres">
      <dgm:prSet presAssocID="{26B9F93D-C168-4C96-A235-6BD93D36A608}" presName="cycle" presStyleCnt="0">
        <dgm:presLayoutVars>
          <dgm:dir/>
          <dgm:resizeHandles val="exact"/>
        </dgm:presLayoutVars>
      </dgm:prSet>
      <dgm:spPr/>
    </dgm:pt>
    <dgm:pt modelId="{31ACE83E-A796-4711-8804-8CE642633072}" type="pres">
      <dgm:prSet presAssocID="{ED00BED9-CDBE-415D-BAA7-4BD9E8179113}" presName="dummy" presStyleCnt="0"/>
      <dgm:spPr/>
    </dgm:pt>
    <dgm:pt modelId="{7686E821-527C-436F-A5D8-0567623BE3FB}" type="pres">
      <dgm:prSet presAssocID="{ED00BED9-CDBE-415D-BAA7-4BD9E8179113}" presName="node" presStyleLbl="revTx" presStyleIdx="0" presStyleCnt="5">
        <dgm:presLayoutVars>
          <dgm:bulletEnabled val="1"/>
        </dgm:presLayoutVars>
      </dgm:prSet>
      <dgm:spPr/>
    </dgm:pt>
    <dgm:pt modelId="{03E9E106-B821-4FB0-9F43-3FC834EB07D3}" type="pres">
      <dgm:prSet presAssocID="{5DB821A1-AB4A-4C9E-B326-7DB0C3378544}" presName="sibTrans" presStyleLbl="node1" presStyleIdx="0" presStyleCnt="5"/>
      <dgm:spPr/>
    </dgm:pt>
    <dgm:pt modelId="{25871A98-BF0B-4D60-88B7-1DF3E3AD73CE}" type="pres">
      <dgm:prSet presAssocID="{170C2C9B-C9A5-4B9C-8E89-CEA12B1BBAB9}" presName="dummy" presStyleCnt="0"/>
      <dgm:spPr/>
    </dgm:pt>
    <dgm:pt modelId="{03C44F77-D5AA-4DD9-8719-055045437159}" type="pres">
      <dgm:prSet presAssocID="{170C2C9B-C9A5-4B9C-8E89-CEA12B1BBAB9}" presName="node" presStyleLbl="revTx" presStyleIdx="1" presStyleCnt="5">
        <dgm:presLayoutVars>
          <dgm:bulletEnabled val="1"/>
        </dgm:presLayoutVars>
      </dgm:prSet>
      <dgm:spPr/>
    </dgm:pt>
    <dgm:pt modelId="{804B52DD-C005-4BE0-9C1A-88BACE3CFA3A}" type="pres">
      <dgm:prSet presAssocID="{5D1C8381-DCC2-4ADD-BFCA-702BEFDC46F3}" presName="sibTrans" presStyleLbl="node1" presStyleIdx="1" presStyleCnt="5"/>
      <dgm:spPr/>
    </dgm:pt>
    <dgm:pt modelId="{73D18161-458D-4B37-8A00-F332E13E3E7B}" type="pres">
      <dgm:prSet presAssocID="{B7442F7E-0CAF-437B-9077-4DABAB519E11}" presName="dummy" presStyleCnt="0"/>
      <dgm:spPr/>
    </dgm:pt>
    <dgm:pt modelId="{54D4A661-48A9-43F6-BEE1-CD71195A9D76}" type="pres">
      <dgm:prSet presAssocID="{B7442F7E-0CAF-437B-9077-4DABAB519E11}" presName="node" presStyleLbl="revTx" presStyleIdx="2" presStyleCnt="5">
        <dgm:presLayoutVars>
          <dgm:bulletEnabled val="1"/>
        </dgm:presLayoutVars>
      </dgm:prSet>
      <dgm:spPr/>
    </dgm:pt>
    <dgm:pt modelId="{8A7ECF61-CD46-4DC8-84B7-AB8942038FBD}" type="pres">
      <dgm:prSet presAssocID="{C4532D39-3C52-4839-B327-DFD076EA1438}" presName="sibTrans" presStyleLbl="node1" presStyleIdx="2" presStyleCnt="5"/>
      <dgm:spPr/>
    </dgm:pt>
    <dgm:pt modelId="{4F2C61B9-E40E-4DCF-A121-735FBA1C410C}" type="pres">
      <dgm:prSet presAssocID="{D989D051-C5C1-4F60-AB4A-A1A34FD51956}" presName="dummy" presStyleCnt="0"/>
      <dgm:spPr/>
    </dgm:pt>
    <dgm:pt modelId="{3C3965C6-F598-4A6E-AAA2-DD327D05AAA6}" type="pres">
      <dgm:prSet presAssocID="{D989D051-C5C1-4F60-AB4A-A1A34FD51956}" presName="node" presStyleLbl="revTx" presStyleIdx="3" presStyleCnt="5">
        <dgm:presLayoutVars>
          <dgm:bulletEnabled val="1"/>
        </dgm:presLayoutVars>
      </dgm:prSet>
      <dgm:spPr/>
    </dgm:pt>
    <dgm:pt modelId="{445504E0-CFDB-4545-8E17-7583BFAE2343}" type="pres">
      <dgm:prSet presAssocID="{05CB4D24-69A7-4F4E-B57B-5AFF0F6AAFD9}" presName="sibTrans" presStyleLbl="node1" presStyleIdx="3" presStyleCnt="5"/>
      <dgm:spPr/>
    </dgm:pt>
    <dgm:pt modelId="{7C5DB943-DB83-4590-92A0-25AC6C73DE73}" type="pres">
      <dgm:prSet presAssocID="{C63469B7-1955-43E4-8F23-1D6BDC1F4136}" presName="dummy" presStyleCnt="0"/>
      <dgm:spPr/>
    </dgm:pt>
    <dgm:pt modelId="{E9D408C2-8B1D-49C8-96E8-0C645CDFA881}" type="pres">
      <dgm:prSet presAssocID="{C63469B7-1955-43E4-8F23-1D6BDC1F4136}" presName="node" presStyleLbl="revTx" presStyleIdx="4" presStyleCnt="5">
        <dgm:presLayoutVars>
          <dgm:bulletEnabled val="1"/>
        </dgm:presLayoutVars>
      </dgm:prSet>
      <dgm:spPr/>
    </dgm:pt>
    <dgm:pt modelId="{78E759CD-3B79-4878-91AE-DAC38FB40595}" type="pres">
      <dgm:prSet presAssocID="{444E9F27-DB06-4C75-8A70-C1DB343B42B3}" presName="sibTrans" presStyleLbl="node1" presStyleIdx="4" presStyleCnt="5"/>
      <dgm:spPr/>
    </dgm:pt>
  </dgm:ptLst>
  <dgm:cxnLst>
    <dgm:cxn modelId="{C2452514-C46F-4E17-8775-F435E40100D5}" type="presOf" srcId="{B7442F7E-0CAF-437B-9077-4DABAB519E11}" destId="{54D4A661-48A9-43F6-BEE1-CD71195A9D76}" srcOrd="0" destOrd="0" presId="urn:microsoft.com/office/officeart/2005/8/layout/cycle1"/>
    <dgm:cxn modelId="{BFB96821-DEA3-4721-A4ED-F6F1F42957CB}" type="presOf" srcId="{05CB4D24-69A7-4F4E-B57B-5AFF0F6AAFD9}" destId="{445504E0-CFDB-4545-8E17-7583BFAE2343}" srcOrd="0" destOrd="0" presId="urn:microsoft.com/office/officeart/2005/8/layout/cycle1"/>
    <dgm:cxn modelId="{4186135C-CE82-4DF2-B529-E1640A35F05C}" type="presOf" srcId="{444E9F27-DB06-4C75-8A70-C1DB343B42B3}" destId="{78E759CD-3B79-4878-91AE-DAC38FB40595}" srcOrd="0" destOrd="0" presId="urn:microsoft.com/office/officeart/2005/8/layout/cycle1"/>
    <dgm:cxn modelId="{426D3C64-94E1-4DCE-9418-722377F8FA83}" srcId="{26B9F93D-C168-4C96-A235-6BD93D36A608}" destId="{170C2C9B-C9A5-4B9C-8E89-CEA12B1BBAB9}" srcOrd="1" destOrd="0" parTransId="{69B7FA12-7D19-4557-998B-DE7487A048BC}" sibTransId="{5D1C8381-DCC2-4ADD-BFCA-702BEFDC46F3}"/>
    <dgm:cxn modelId="{C9FC9C65-ACFB-4894-9BF1-9E85007C42C2}" type="presOf" srcId="{C63469B7-1955-43E4-8F23-1D6BDC1F4136}" destId="{E9D408C2-8B1D-49C8-96E8-0C645CDFA881}" srcOrd="0" destOrd="0" presId="urn:microsoft.com/office/officeart/2005/8/layout/cycle1"/>
    <dgm:cxn modelId="{748F4246-531F-4791-BFBF-C05F62441848}" type="presOf" srcId="{26B9F93D-C168-4C96-A235-6BD93D36A608}" destId="{AB694DB7-D887-45B9-9CE5-3638316F14D9}" srcOrd="0" destOrd="0" presId="urn:microsoft.com/office/officeart/2005/8/layout/cycle1"/>
    <dgm:cxn modelId="{183FF56B-7A83-434D-BCC1-8DF45BDA9102}" type="presOf" srcId="{ED00BED9-CDBE-415D-BAA7-4BD9E8179113}" destId="{7686E821-527C-436F-A5D8-0567623BE3FB}" srcOrd="0" destOrd="0" presId="urn:microsoft.com/office/officeart/2005/8/layout/cycle1"/>
    <dgm:cxn modelId="{10C0997C-3A7B-433C-9B51-AA30BE48A554}" type="presOf" srcId="{5D1C8381-DCC2-4ADD-BFCA-702BEFDC46F3}" destId="{804B52DD-C005-4BE0-9C1A-88BACE3CFA3A}" srcOrd="0" destOrd="0" presId="urn:microsoft.com/office/officeart/2005/8/layout/cycle1"/>
    <dgm:cxn modelId="{7FC99486-1476-4173-896E-8D299868C147}" srcId="{26B9F93D-C168-4C96-A235-6BD93D36A608}" destId="{C63469B7-1955-43E4-8F23-1D6BDC1F4136}" srcOrd="4" destOrd="0" parTransId="{210931E7-D1BC-40F1-96F4-C8AD0D190142}" sibTransId="{444E9F27-DB06-4C75-8A70-C1DB343B42B3}"/>
    <dgm:cxn modelId="{7572D596-0F17-4E82-8262-5B5E2791FE38}" type="presOf" srcId="{D989D051-C5C1-4F60-AB4A-A1A34FD51956}" destId="{3C3965C6-F598-4A6E-AAA2-DD327D05AAA6}" srcOrd="0" destOrd="0" presId="urn:microsoft.com/office/officeart/2005/8/layout/cycle1"/>
    <dgm:cxn modelId="{62E3B0A1-C43F-4EAF-B5F5-60C37B90664F}" srcId="{26B9F93D-C168-4C96-A235-6BD93D36A608}" destId="{ED00BED9-CDBE-415D-BAA7-4BD9E8179113}" srcOrd="0" destOrd="0" parTransId="{1B1A2BCE-693A-40FE-AA65-804FCF9A36AA}" sibTransId="{5DB821A1-AB4A-4C9E-B326-7DB0C3378544}"/>
    <dgm:cxn modelId="{7398FEB9-F055-4DE9-9C77-5A25F087DB6A}" type="presOf" srcId="{C4532D39-3C52-4839-B327-DFD076EA1438}" destId="{8A7ECF61-CD46-4DC8-84B7-AB8942038FBD}" srcOrd="0" destOrd="0" presId="urn:microsoft.com/office/officeart/2005/8/layout/cycle1"/>
    <dgm:cxn modelId="{B18335D2-6F34-46C2-B478-DED1DE36B350}" srcId="{26B9F93D-C168-4C96-A235-6BD93D36A608}" destId="{B7442F7E-0CAF-437B-9077-4DABAB519E11}" srcOrd="2" destOrd="0" parTransId="{41C0C835-A98D-4587-ABDC-803636F037FB}" sibTransId="{C4532D39-3C52-4839-B327-DFD076EA1438}"/>
    <dgm:cxn modelId="{1EE755E8-7A22-4383-B393-1E5E08DBF7E0}" srcId="{26B9F93D-C168-4C96-A235-6BD93D36A608}" destId="{D989D051-C5C1-4F60-AB4A-A1A34FD51956}" srcOrd="3" destOrd="0" parTransId="{75D3457C-2E15-4A7C-A84E-ACE1AFFD26AE}" sibTransId="{05CB4D24-69A7-4F4E-B57B-5AFF0F6AAFD9}"/>
    <dgm:cxn modelId="{53D63EF4-033F-4923-9F6B-B2C1DA352F07}" type="presOf" srcId="{5DB821A1-AB4A-4C9E-B326-7DB0C3378544}" destId="{03E9E106-B821-4FB0-9F43-3FC834EB07D3}" srcOrd="0" destOrd="0" presId="urn:microsoft.com/office/officeart/2005/8/layout/cycle1"/>
    <dgm:cxn modelId="{30024FF4-1C16-4D9E-A92A-2CB19D7C5183}" type="presOf" srcId="{170C2C9B-C9A5-4B9C-8E89-CEA12B1BBAB9}" destId="{03C44F77-D5AA-4DD9-8719-055045437159}" srcOrd="0" destOrd="0" presId="urn:microsoft.com/office/officeart/2005/8/layout/cycle1"/>
    <dgm:cxn modelId="{F5D0BACE-BF6E-4410-8A08-182D3104F990}" type="presParOf" srcId="{AB694DB7-D887-45B9-9CE5-3638316F14D9}" destId="{31ACE83E-A796-4711-8804-8CE642633072}" srcOrd="0" destOrd="0" presId="urn:microsoft.com/office/officeart/2005/8/layout/cycle1"/>
    <dgm:cxn modelId="{F462EF84-5AF3-4E27-B3C1-5F1BB15DDFA3}" type="presParOf" srcId="{AB694DB7-D887-45B9-9CE5-3638316F14D9}" destId="{7686E821-527C-436F-A5D8-0567623BE3FB}" srcOrd="1" destOrd="0" presId="urn:microsoft.com/office/officeart/2005/8/layout/cycle1"/>
    <dgm:cxn modelId="{26B4A47C-B751-4864-8751-8C050240D8FA}" type="presParOf" srcId="{AB694DB7-D887-45B9-9CE5-3638316F14D9}" destId="{03E9E106-B821-4FB0-9F43-3FC834EB07D3}" srcOrd="2" destOrd="0" presId="urn:microsoft.com/office/officeart/2005/8/layout/cycle1"/>
    <dgm:cxn modelId="{0C31C449-E9AB-4FCB-B1A7-0FEDC3F899F7}" type="presParOf" srcId="{AB694DB7-D887-45B9-9CE5-3638316F14D9}" destId="{25871A98-BF0B-4D60-88B7-1DF3E3AD73CE}" srcOrd="3" destOrd="0" presId="urn:microsoft.com/office/officeart/2005/8/layout/cycle1"/>
    <dgm:cxn modelId="{5FEAA6A7-353A-489B-9F6A-4F7648B29A34}" type="presParOf" srcId="{AB694DB7-D887-45B9-9CE5-3638316F14D9}" destId="{03C44F77-D5AA-4DD9-8719-055045437159}" srcOrd="4" destOrd="0" presId="urn:microsoft.com/office/officeart/2005/8/layout/cycle1"/>
    <dgm:cxn modelId="{0EC081D8-6481-4D04-9D0A-00E9DE8F83FF}" type="presParOf" srcId="{AB694DB7-D887-45B9-9CE5-3638316F14D9}" destId="{804B52DD-C005-4BE0-9C1A-88BACE3CFA3A}" srcOrd="5" destOrd="0" presId="urn:microsoft.com/office/officeart/2005/8/layout/cycle1"/>
    <dgm:cxn modelId="{D07A6688-131A-46BA-B1D7-21435956D73C}" type="presParOf" srcId="{AB694DB7-D887-45B9-9CE5-3638316F14D9}" destId="{73D18161-458D-4B37-8A00-F332E13E3E7B}" srcOrd="6" destOrd="0" presId="urn:microsoft.com/office/officeart/2005/8/layout/cycle1"/>
    <dgm:cxn modelId="{6F685FA9-EDC0-4102-9C4D-1FD95DA66DEA}" type="presParOf" srcId="{AB694DB7-D887-45B9-9CE5-3638316F14D9}" destId="{54D4A661-48A9-43F6-BEE1-CD71195A9D76}" srcOrd="7" destOrd="0" presId="urn:microsoft.com/office/officeart/2005/8/layout/cycle1"/>
    <dgm:cxn modelId="{0120D6BF-783E-4F7C-BAAA-F8E3D0250A17}" type="presParOf" srcId="{AB694DB7-D887-45B9-9CE5-3638316F14D9}" destId="{8A7ECF61-CD46-4DC8-84B7-AB8942038FBD}" srcOrd="8" destOrd="0" presId="urn:microsoft.com/office/officeart/2005/8/layout/cycle1"/>
    <dgm:cxn modelId="{E198B07D-3FF3-434B-B753-7322167814BF}" type="presParOf" srcId="{AB694DB7-D887-45B9-9CE5-3638316F14D9}" destId="{4F2C61B9-E40E-4DCF-A121-735FBA1C410C}" srcOrd="9" destOrd="0" presId="urn:microsoft.com/office/officeart/2005/8/layout/cycle1"/>
    <dgm:cxn modelId="{E3476370-49C4-465E-B4A7-919A1DB4AE03}" type="presParOf" srcId="{AB694DB7-D887-45B9-9CE5-3638316F14D9}" destId="{3C3965C6-F598-4A6E-AAA2-DD327D05AAA6}" srcOrd="10" destOrd="0" presId="urn:microsoft.com/office/officeart/2005/8/layout/cycle1"/>
    <dgm:cxn modelId="{78867E58-B4AE-4DC7-937F-E69F346AF5C5}" type="presParOf" srcId="{AB694DB7-D887-45B9-9CE5-3638316F14D9}" destId="{445504E0-CFDB-4545-8E17-7583BFAE2343}" srcOrd="11" destOrd="0" presId="urn:microsoft.com/office/officeart/2005/8/layout/cycle1"/>
    <dgm:cxn modelId="{24F2E746-E07D-45E7-89DC-DAAEC7EF9563}" type="presParOf" srcId="{AB694DB7-D887-45B9-9CE5-3638316F14D9}" destId="{7C5DB943-DB83-4590-92A0-25AC6C73DE73}" srcOrd="12" destOrd="0" presId="urn:microsoft.com/office/officeart/2005/8/layout/cycle1"/>
    <dgm:cxn modelId="{EFF23506-94E7-4A84-AA75-BBB9FF51ACFC}" type="presParOf" srcId="{AB694DB7-D887-45B9-9CE5-3638316F14D9}" destId="{E9D408C2-8B1D-49C8-96E8-0C645CDFA881}" srcOrd="13" destOrd="0" presId="urn:microsoft.com/office/officeart/2005/8/layout/cycle1"/>
    <dgm:cxn modelId="{F976BA86-6652-408A-BB95-44830893D017}" type="presParOf" srcId="{AB694DB7-D887-45B9-9CE5-3638316F14D9}" destId="{78E759CD-3B79-4878-91AE-DAC38FB40595}" srcOrd="14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686E821-527C-436F-A5D8-0567623BE3FB}">
      <dsp:nvSpPr>
        <dsp:cNvPr id="0" name=""/>
        <dsp:cNvSpPr/>
      </dsp:nvSpPr>
      <dsp:spPr>
        <a:xfrm>
          <a:off x="6908120" y="49266"/>
          <a:ext cx="1696640" cy="16966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500" kern="1200"/>
            <a:t>Ta fram HP, </a:t>
          </a:r>
          <a:r>
            <a:rPr lang="sv-SE" sz="1500" kern="1200">
              <a:latin typeface="Arial"/>
            </a:rPr>
            <a:t>Kalibrera hur</a:t>
          </a:r>
          <a:r>
            <a:rPr lang="sv-SE" sz="1500" kern="1200"/>
            <a:t> alla </a:t>
          </a:r>
          <a:r>
            <a:rPr lang="sv-SE" sz="1500" kern="1200">
              <a:latin typeface="Arial"/>
            </a:rPr>
            <a:t>förvaltningar och </a:t>
          </a:r>
          <a:r>
            <a:rPr lang="sv-SE" sz="1500" kern="1200"/>
            <a:t>bolag </a:t>
          </a:r>
          <a:r>
            <a:rPr lang="sv-SE" sz="1500" kern="1200">
              <a:latin typeface="Arial"/>
            </a:rPr>
            <a:t>kan bidra</a:t>
          </a:r>
          <a:r>
            <a:rPr lang="sv-SE" sz="1500" kern="1200"/>
            <a:t>?</a:t>
          </a:r>
        </a:p>
      </dsp:txBody>
      <dsp:txXfrm>
        <a:off x="6908120" y="49266"/>
        <a:ext cx="1696640" cy="1696640"/>
      </dsp:txXfrm>
    </dsp:sp>
    <dsp:sp modelId="{03E9E106-B821-4FB0-9F43-3FC834EB07D3}">
      <dsp:nvSpPr>
        <dsp:cNvPr id="0" name=""/>
        <dsp:cNvSpPr/>
      </dsp:nvSpPr>
      <dsp:spPr>
        <a:xfrm>
          <a:off x="2912674" y="-338"/>
          <a:ext cx="6366650" cy="6366650"/>
        </a:xfrm>
        <a:prstGeom prst="circularArrow">
          <a:avLst>
            <a:gd name="adj1" fmla="val 5197"/>
            <a:gd name="adj2" fmla="val 335649"/>
            <a:gd name="adj3" fmla="val 21294319"/>
            <a:gd name="adj4" fmla="val 19765295"/>
            <a:gd name="adj5" fmla="val 606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3C44F77-D5AA-4DD9-8719-055045437159}">
      <dsp:nvSpPr>
        <dsp:cNvPr id="0" name=""/>
        <dsp:cNvSpPr/>
      </dsp:nvSpPr>
      <dsp:spPr>
        <a:xfrm>
          <a:off x="7934328" y="3207612"/>
          <a:ext cx="1696640" cy="16966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500" kern="1200"/>
            <a:t>Följa upp/hantera motstånd</a:t>
          </a:r>
        </a:p>
      </dsp:txBody>
      <dsp:txXfrm>
        <a:off x="7934328" y="3207612"/>
        <a:ext cx="1696640" cy="1696640"/>
      </dsp:txXfrm>
    </dsp:sp>
    <dsp:sp modelId="{804B52DD-C005-4BE0-9C1A-88BACE3CFA3A}">
      <dsp:nvSpPr>
        <dsp:cNvPr id="0" name=""/>
        <dsp:cNvSpPr/>
      </dsp:nvSpPr>
      <dsp:spPr>
        <a:xfrm>
          <a:off x="2912674" y="-338"/>
          <a:ext cx="6366650" cy="6366650"/>
        </a:xfrm>
        <a:prstGeom prst="circularArrow">
          <a:avLst>
            <a:gd name="adj1" fmla="val 5197"/>
            <a:gd name="adj2" fmla="val 335649"/>
            <a:gd name="adj3" fmla="val 4015814"/>
            <a:gd name="adj4" fmla="val 2252408"/>
            <a:gd name="adj5" fmla="val 606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4D4A661-48A9-43F6-BEE1-CD71195A9D76}">
      <dsp:nvSpPr>
        <dsp:cNvPr id="0" name=""/>
        <dsp:cNvSpPr/>
      </dsp:nvSpPr>
      <dsp:spPr>
        <a:xfrm>
          <a:off x="5247679" y="5159576"/>
          <a:ext cx="1696640" cy="16966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500" kern="1200"/>
            <a:t>Synliggöra resultat/fira</a:t>
          </a:r>
        </a:p>
      </dsp:txBody>
      <dsp:txXfrm>
        <a:off x="5247679" y="5159576"/>
        <a:ext cx="1696640" cy="1696640"/>
      </dsp:txXfrm>
    </dsp:sp>
    <dsp:sp modelId="{8A7ECF61-CD46-4DC8-84B7-AB8942038FBD}">
      <dsp:nvSpPr>
        <dsp:cNvPr id="0" name=""/>
        <dsp:cNvSpPr/>
      </dsp:nvSpPr>
      <dsp:spPr>
        <a:xfrm>
          <a:off x="2912674" y="-338"/>
          <a:ext cx="6366650" cy="6366650"/>
        </a:xfrm>
        <a:prstGeom prst="circularArrow">
          <a:avLst>
            <a:gd name="adj1" fmla="val 5197"/>
            <a:gd name="adj2" fmla="val 335649"/>
            <a:gd name="adj3" fmla="val 8211944"/>
            <a:gd name="adj4" fmla="val 6448537"/>
            <a:gd name="adj5" fmla="val 606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C3965C6-F598-4A6E-AAA2-DD327D05AAA6}">
      <dsp:nvSpPr>
        <dsp:cNvPr id="0" name=""/>
        <dsp:cNvSpPr/>
      </dsp:nvSpPr>
      <dsp:spPr>
        <a:xfrm>
          <a:off x="2561030" y="3207612"/>
          <a:ext cx="1696640" cy="16966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500" kern="1200"/>
            <a:t>Stämma av med målgrupp, 2 ggr per HP</a:t>
          </a:r>
        </a:p>
      </dsp:txBody>
      <dsp:txXfrm>
        <a:off x="2561030" y="3207612"/>
        <a:ext cx="1696640" cy="1696640"/>
      </dsp:txXfrm>
    </dsp:sp>
    <dsp:sp modelId="{445504E0-CFDB-4545-8E17-7583BFAE2343}">
      <dsp:nvSpPr>
        <dsp:cNvPr id="0" name=""/>
        <dsp:cNvSpPr/>
      </dsp:nvSpPr>
      <dsp:spPr>
        <a:xfrm>
          <a:off x="2912674" y="-338"/>
          <a:ext cx="6366650" cy="6366650"/>
        </a:xfrm>
        <a:prstGeom prst="circularArrow">
          <a:avLst>
            <a:gd name="adj1" fmla="val 5197"/>
            <a:gd name="adj2" fmla="val 335649"/>
            <a:gd name="adj3" fmla="val 12299056"/>
            <a:gd name="adj4" fmla="val 10770033"/>
            <a:gd name="adj5" fmla="val 606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9D408C2-8B1D-49C8-96E8-0C645CDFA881}">
      <dsp:nvSpPr>
        <dsp:cNvPr id="0" name=""/>
        <dsp:cNvSpPr/>
      </dsp:nvSpPr>
      <dsp:spPr>
        <a:xfrm>
          <a:off x="3587239" y="49266"/>
          <a:ext cx="1696640" cy="16966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500" kern="1200"/>
            <a:t>Identifiera avgränsningar/välja bort</a:t>
          </a:r>
        </a:p>
      </dsp:txBody>
      <dsp:txXfrm>
        <a:off x="3587239" y="49266"/>
        <a:ext cx="1696640" cy="1696640"/>
      </dsp:txXfrm>
    </dsp:sp>
    <dsp:sp modelId="{78E759CD-3B79-4878-91AE-DAC38FB40595}">
      <dsp:nvSpPr>
        <dsp:cNvPr id="0" name=""/>
        <dsp:cNvSpPr/>
      </dsp:nvSpPr>
      <dsp:spPr>
        <a:xfrm>
          <a:off x="2912674" y="-338"/>
          <a:ext cx="6366650" cy="6366650"/>
        </a:xfrm>
        <a:prstGeom prst="circularArrow">
          <a:avLst>
            <a:gd name="adj1" fmla="val 5197"/>
            <a:gd name="adj2" fmla="val 335649"/>
            <a:gd name="adj3" fmla="val 16866799"/>
            <a:gd name="adj4" fmla="val 15197552"/>
            <a:gd name="adj5" fmla="val 606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1" y="13"/>
            <a:ext cx="4161353" cy="2666264"/>
          </a:xfrm>
          <a:prstGeom prst="rect">
            <a:avLst/>
          </a:prstGeom>
        </p:spPr>
        <p:txBody>
          <a:bodyPr vert="horz" lIns="187607" tIns="93804" rIns="187607" bIns="93804" rtlCol="0"/>
          <a:lstStyle>
            <a:lvl1pPr algn="l">
              <a:defRPr sz="25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5437116" y="13"/>
            <a:ext cx="4161353" cy="2666264"/>
          </a:xfrm>
          <a:prstGeom prst="rect">
            <a:avLst/>
          </a:prstGeom>
        </p:spPr>
        <p:txBody>
          <a:bodyPr vert="horz" lIns="187607" tIns="93804" rIns="187607" bIns="93804" rtlCol="0"/>
          <a:lstStyle>
            <a:lvl1pPr algn="r">
              <a:defRPr sz="2500"/>
            </a:lvl1pPr>
          </a:lstStyle>
          <a:p>
            <a:fld id="{18A4C1C6-D783-4D55-B67B-EC05FDF72538}" type="datetimeFigureOut">
              <a:rPr lang="sv-SE" smtClean="0"/>
              <a:t>2023-01-29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-11176000" y="6661150"/>
            <a:ext cx="31953200" cy="17973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87607" tIns="93804" rIns="187607" bIns="93804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959626" y="25631856"/>
            <a:ext cx="7681463" cy="20972276"/>
          </a:xfrm>
          <a:prstGeom prst="rect">
            <a:avLst/>
          </a:prstGeom>
        </p:spPr>
        <p:txBody>
          <a:bodyPr vert="horz" lIns="187607" tIns="93804" rIns="187607" bIns="93804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1" y="50599248"/>
            <a:ext cx="4161353" cy="2666264"/>
          </a:xfrm>
          <a:prstGeom prst="rect">
            <a:avLst/>
          </a:prstGeom>
        </p:spPr>
        <p:txBody>
          <a:bodyPr vert="horz" lIns="187607" tIns="93804" rIns="187607" bIns="93804" rtlCol="0" anchor="b"/>
          <a:lstStyle>
            <a:lvl1pPr algn="l">
              <a:defRPr sz="25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5437116" y="50599248"/>
            <a:ext cx="4161353" cy="2666264"/>
          </a:xfrm>
          <a:prstGeom prst="rect">
            <a:avLst/>
          </a:prstGeom>
        </p:spPr>
        <p:txBody>
          <a:bodyPr vert="horz" lIns="187607" tIns="93804" rIns="187607" bIns="93804" rtlCol="0" anchor="b"/>
          <a:lstStyle>
            <a:lvl1pPr algn="r">
              <a:defRPr sz="2500"/>
            </a:lvl1pPr>
          </a:lstStyle>
          <a:p>
            <a:fld id="{4610C5DA-2BEC-4F71-9406-639DCE7370A4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675225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5D08F8-9399-4DEA-AD5D-5CD506C3D6D6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51619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/>
              <a:t>Ex: Aktiviteter som har utvecklingsfokus/</a:t>
            </a:r>
          </a:p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10C5DA-2BEC-4F71-9406-639DCE7370A4}" type="slidenum">
              <a:rPr lang="sv-SE" smtClean="0"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929926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/>
              <a:t>Ex: Aktiviteter som har utvecklingsfokus/</a:t>
            </a:r>
          </a:p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10C5DA-2BEC-4F71-9406-639DCE7370A4}" type="slidenum">
              <a:rPr lang="sv-SE" smtClean="0"/>
              <a:t>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903592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5" Type="http://schemas.openxmlformats.org/officeDocument/2006/relationships/image" Target="../media/image3.png"/><Relationship Id="rId4" Type="http://schemas.openxmlformats.org/officeDocument/2006/relationships/image" Target="../media/image10.emf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0.emf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2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.xml"/><Relationship Id="rId6" Type="http://schemas.openxmlformats.org/officeDocument/2006/relationships/image" Target="../media/image21.jpeg"/><Relationship Id="rId5" Type="http://schemas.openxmlformats.org/officeDocument/2006/relationships/image" Target="../media/image20.jpeg"/><Relationship Id="rId4" Type="http://schemas.openxmlformats.org/officeDocument/2006/relationships/image" Target="../media/image13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.xml"/><Relationship Id="rId5" Type="http://schemas.openxmlformats.org/officeDocument/2006/relationships/image" Target="../media/image22.png"/><Relationship Id="rId4" Type="http://schemas.openxmlformats.org/officeDocument/2006/relationships/image" Target="../media/image13.emf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 descr="En bild som visar himmel, utomhus, vatten&#10;&#10;Automatiskt genererad beskrivning">
            <a:extLst>
              <a:ext uri="{FF2B5EF4-FFF2-40B4-BE49-F238E27FC236}">
                <a16:creationId xmlns:a16="http://schemas.microsoft.com/office/drawing/2014/main" id="{3E4D31C9-97AB-40E6-A4E9-CA1C97757C0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9854"/>
            <a:ext cx="12192000" cy="6867853"/>
          </a:xfrm>
          <a:prstGeom prst="rect">
            <a:avLst/>
          </a:prstGeom>
        </p:spPr>
      </p:pic>
      <p:sp>
        <p:nvSpPr>
          <p:cNvPr id="8" name="Sexhörning 7">
            <a:extLst>
              <a:ext uri="{FF2B5EF4-FFF2-40B4-BE49-F238E27FC236}">
                <a16:creationId xmlns:a16="http://schemas.microsoft.com/office/drawing/2014/main" id="{415A18FA-016E-4D89-B028-3A9DB7D3102D}"/>
              </a:ext>
            </a:extLst>
          </p:cNvPr>
          <p:cNvSpPr/>
          <p:nvPr userDrawn="1"/>
        </p:nvSpPr>
        <p:spPr>
          <a:xfrm>
            <a:off x="1905000" y="0"/>
            <a:ext cx="7943850" cy="6857999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EC3377C-8C0F-4E16-A7CA-12BAB2F800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48000" y="2596192"/>
            <a:ext cx="5676900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241B97A3-A308-4065-B749-0D4B5A8C848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9" name="Underrubrik 2">
            <a:extLst>
              <a:ext uri="{FF2B5EF4-FFF2-40B4-BE49-F238E27FC236}">
                <a16:creationId xmlns:a16="http://schemas.microsoft.com/office/drawing/2014/main" id="{F52BC1B4-A830-4337-A012-A1925FF1E3C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54412" y="5709736"/>
            <a:ext cx="4572000" cy="933254"/>
          </a:xfrm>
        </p:spPr>
        <p:txBody>
          <a:bodyPr anchor="b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Namn</a:t>
            </a:r>
          </a:p>
          <a:p>
            <a:r>
              <a:rPr lang="sv-SE"/>
              <a:t>Titel</a:t>
            </a:r>
            <a:endParaRPr lang="en-GB"/>
          </a:p>
        </p:txBody>
      </p:sp>
      <p:sp>
        <p:nvSpPr>
          <p:cNvPr id="10" name="Platshållare för text 4">
            <a:extLst>
              <a:ext uri="{FF2B5EF4-FFF2-40B4-BE49-F238E27FC236}">
                <a16:creationId xmlns:a16="http://schemas.microsoft.com/office/drawing/2014/main" id="{30B56924-FB7A-46A6-B6EF-1EC9BA35B37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27283" y="457200"/>
            <a:ext cx="4119514" cy="523875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 algn="ctr">
              <a:buNone/>
              <a:defRPr lang="en-GB" sz="1400" cap="all" baseline="0" dirty="0">
                <a:solidFill>
                  <a:schemeClr val="bg1"/>
                </a:solidFill>
              </a:defRPr>
            </a:lvl1pPr>
          </a:lstStyle>
          <a:p>
            <a:pPr marL="271463" lvl="0" indent="-271463"/>
            <a:r>
              <a:rPr lang="sv-SE"/>
              <a:t>Datum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79194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rubrik och tex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62ABE50D-60DA-4704-89D7-730FD6C5F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8843" y="1126379"/>
            <a:ext cx="4470401" cy="2169082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7" name="Platshållare för text 3">
            <a:extLst>
              <a:ext uri="{FF2B5EF4-FFF2-40B4-BE49-F238E27FC236}">
                <a16:creationId xmlns:a16="http://schemas.microsoft.com/office/drawing/2014/main" id="{41C8E73C-019E-4FB7-946D-69FAB814CF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98843" y="3381376"/>
            <a:ext cx="4470401" cy="235024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95839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 och tex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id="{5A8275A8-C307-4AD1-8F7E-DA508226EA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5" name="Platshållare för text 3">
            <a:extLst>
              <a:ext uri="{FF2B5EF4-FFF2-40B4-BE49-F238E27FC236}">
                <a16:creationId xmlns:a16="http://schemas.microsoft.com/office/drawing/2014/main" id="{43AAF0FB-5C31-4B7A-B3F0-735ECFED130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14737" y="2959894"/>
            <a:ext cx="4962525" cy="306863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6" name="Rubrik 1">
            <a:extLst>
              <a:ext uri="{FF2B5EF4-FFF2-40B4-BE49-F238E27FC236}">
                <a16:creationId xmlns:a16="http://schemas.microsoft.com/office/drawing/2014/main" id="{14F623A5-22C3-402C-9416-7106F11094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40046" y="977107"/>
            <a:ext cx="8111905" cy="1957387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</a:t>
            </a:r>
            <a:br>
              <a:rPr lang="sv-SE"/>
            </a:br>
            <a:r>
              <a:rPr lang="sv-SE"/>
              <a:t>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57287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vatten, båt, scen, flod&#10;&#10;Automatiskt genererad beskrivning">
            <a:extLst>
              <a:ext uri="{FF2B5EF4-FFF2-40B4-BE49-F238E27FC236}">
                <a16:creationId xmlns:a16="http://schemas.microsoft.com/office/drawing/2014/main" id="{A3FB76D2-1C0D-4488-878D-4FAB146CF7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59" b="854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323D7106-5A4E-4A15-A441-8E5B070144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7413" y="660400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/>
              <a:t>Namn </a:t>
            </a:r>
            <a:r>
              <a:rPr lang="sv-SE" err="1"/>
              <a:t>Namnesson</a:t>
            </a:r>
            <a:br>
              <a:rPr lang="sv-SE"/>
            </a:br>
            <a:r>
              <a:rPr lang="sv-SE"/>
              <a:t>Titel</a:t>
            </a:r>
          </a:p>
          <a:p>
            <a:pPr lvl="0"/>
            <a:r>
              <a:rPr lang="sv-SE"/>
              <a:t>Datu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BDBF191B-6AEB-4CCA-B141-5EF4F9F7AA8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Rubrik 1">
            <a:extLst>
              <a:ext uri="{FF2B5EF4-FFF2-40B4-BE49-F238E27FC236}">
                <a16:creationId xmlns:a16="http://schemas.microsoft.com/office/drawing/2014/main" id="{B3F6FD54-C892-4BA4-BE9D-ED4B94D9E3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2426509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67994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 descr="En bild som visar himmel, utomhus, bro, vatten&#10;&#10;Automatiskt genererad beskrivning">
            <a:extLst>
              <a:ext uri="{FF2B5EF4-FFF2-40B4-BE49-F238E27FC236}">
                <a16:creationId xmlns:a16="http://schemas.microsoft.com/office/drawing/2014/main" id="{CC5AACF2-0C11-44A9-8380-998FCF7075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29"/>
          <a:stretch/>
        </p:blipFill>
        <p:spPr>
          <a:xfrm>
            <a:off x="5181600" y="0"/>
            <a:ext cx="7010400" cy="6858000"/>
          </a:xfrm>
          <a:prstGeom prst="rect">
            <a:avLst/>
          </a:prstGeom>
        </p:spPr>
      </p:pic>
      <p:sp>
        <p:nvSpPr>
          <p:cNvPr id="6" name="Pil: femhörning 5">
            <a:extLst>
              <a:ext uri="{FF2B5EF4-FFF2-40B4-BE49-F238E27FC236}">
                <a16:creationId xmlns:a16="http://schemas.microsoft.com/office/drawing/2014/main" id="{30A31DD0-4413-4150-BA2D-DA1A071C1EEF}"/>
              </a:ext>
            </a:extLst>
          </p:cNvPr>
          <p:cNvSpPr/>
          <p:nvPr userDrawn="1"/>
        </p:nvSpPr>
        <p:spPr>
          <a:xfrm>
            <a:off x="0" y="0"/>
            <a:ext cx="7943850" cy="6858000"/>
          </a:xfrm>
          <a:prstGeom prst="homePlate">
            <a:avLst>
              <a:gd name="adj" fmla="val 25242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EC3377C-8C0F-4E16-A7CA-12BAB2F800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9100" y="2601119"/>
            <a:ext cx="5676900" cy="1655762"/>
          </a:xfrm>
        </p:spPr>
        <p:txBody>
          <a:bodyPr anchor="ctr">
            <a:normAutofit/>
          </a:bodyPr>
          <a:lstStyle>
            <a:lvl1pPr algn="l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1F17AFD7-57F0-4B61-8104-CD30595CF2E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9100" y="5467546"/>
            <a:ext cx="4572000" cy="933254"/>
          </a:xfrm>
        </p:spPr>
        <p:txBody>
          <a:bodyPr anchor="b">
            <a:normAutofit/>
          </a:bodyPr>
          <a:lstStyle>
            <a:lvl1pPr marL="0" indent="0" algn="l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Namn</a:t>
            </a:r>
          </a:p>
          <a:p>
            <a:r>
              <a:rPr lang="sv-SE"/>
              <a:t>Titel</a:t>
            </a:r>
            <a:endParaRPr lang="en-GB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DEC7EBC4-F612-4E85-A8EA-EE3EC15EBE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00930869-2014-4023-9C18-6824B8A4B9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457200"/>
            <a:ext cx="5180013" cy="523875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GB" sz="1600" cap="all" baseline="0" dirty="0">
                <a:solidFill>
                  <a:schemeClr val="bg1"/>
                </a:solidFill>
              </a:defRPr>
            </a:lvl1pPr>
          </a:lstStyle>
          <a:p>
            <a:pPr marL="285750" lvl="0" indent="-285750"/>
            <a:r>
              <a:rPr lang="sv-SE"/>
              <a:t>Datum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73609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8">
            <a:extLst>
              <a:ext uri="{FF2B5EF4-FFF2-40B4-BE49-F238E27FC236}">
                <a16:creationId xmlns:a16="http://schemas.microsoft.com/office/drawing/2014/main" id="{F061AA43-8B3E-4F3D-BF22-1A88805544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65" r="21473"/>
          <a:stretch/>
        </p:blipFill>
        <p:spPr>
          <a:xfrm>
            <a:off x="7239000" y="0"/>
            <a:ext cx="4953000" cy="6858000"/>
          </a:xfrm>
          <a:prstGeom prst="rect">
            <a:avLst/>
          </a:prstGeom>
        </p:spPr>
      </p:pic>
      <p:pic>
        <p:nvPicPr>
          <p:cNvPr id="5" name="Bildobjekt 4" descr="En bild som visar himmel, utomhus, vatten, båt&#10;&#10;Automatiskt genererad beskrivning">
            <a:extLst>
              <a:ext uri="{FF2B5EF4-FFF2-40B4-BE49-F238E27FC236}">
                <a16:creationId xmlns:a16="http://schemas.microsoft.com/office/drawing/2014/main" id="{974212FA-6582-48BE-90D5-94F1B701F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027"/>
          <a:stretch/>
        </p:blipFill>
        <p:spPr>
          <a:xfrm>
            <a:off x="0" y="0"/>
            <a:ext cx="5245100" cy="6858000"/>
          </a:xfrm>
          <a:prstGeom prst="rect">
            <a:avLst/>
          </a:prstGeom>
        </p:spPr>
      </p:pic>
      <p:sp>
        <p:nvSpPr>
          <p:cNvPr id="7" name="Sexhörning 6">
            <a:extLst>
              <a:ext uri="{FF2B5EF4-FFF2-40B4-BE49-F238E27FC236}">
                <a16:creationId xmlns:a16="http://schemas.microsoft.com/office/drawing/2014/main" id="{9C81CB57-CC6D-4373-9E8C-26764891F91B}"/>
              </a:ext>
            </a:extLst>
          </p:cNvPr>
          <p:cNvSpPr/>
          <p:nvPr userDrawn="1"/>
        </p:nvSpPr>
        <p:spPr>
          <a:xfrm>
            <a:off x="1905000" y="0"/>
            <a:ext cx="7943850" cy="6858000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Underrubrik 2">
            <a:extLst>
              <a:ext uri="{FF2B5EF4-FFF2-40B4-BE49-F238E27FC236}">
                <a16:creationId xmlns:a16="http://schemas.microsoft.com/office/drawing/2014/main" id="{D5DF9CD7-B6B8-4C64-80AE-FC155A34F0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81822" y="5624446"/>
            <a:ext cx="2917203" cy="933254"/>
          </a:xfrm>
        </p:spPr>
        <p:txBody>
          <a:bodyPr anchor="b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ontakt: </a:t>
            </a:r>
            <a:br>
              <a:rPr lang="sv-SE"/>
            </a:br>
            <a:r>
              <a:rPr lang="sv-SE"/>
              <a:t>namn </a:t>
            </a:r>
            <a:br>
              <a:rPr lang="sv-SE"/>
            </a:br>
            <a:r>
              <a:rPr lang="sv-SE" err="1"/>
              <a:t>tel</a:t>
            </a:r>
            <a:r>
              <a:rPr lang="sv-SE"/>
              <a:t> och mailadress</a:t>
            </a:r>
            <a:endParaRPr lang="en-GB"/>
          </a:p>
        </p:txBody>
      </p:sp>
      <p:sp>
        <p:nvSpPr>
          <p:cNvPr id="10" name="Platshållare för text 4">
            <a:extLst>
              <a:ext uri="{FF2B5EF4-FFF2-40B4-BE49-F238E27FC236}">
                <a16:creationId xmlns:a16="http://schemas.microsoft.com/office/drawing/2014/main" id="{69FFDD3A-A88B-4AB3-A4FA-7FFFFB933EC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81822" y="457200"/>
            <a:ext cx="2917203" cy="523875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 algn="ctr">
              <a:buNone/>
              <a:defRPr lang="en-GB" sz="1600" cap="all" baseline="0" dirty="0">
                <a:solidFill>
                  <a:schemeClr val="bg1"/>
                </a:solidFill>
              </a:defRPr>
            </a:lvl1pPr>
          </a:lstStyle>
          <a:p>
            <a:pPr marL="271463" lvl="0" indent="-271463"/>
            <a:r>
              <a:rPr lang="sv-SE"/>
              <a:t>Datum</a:t>
            </a:r>
            <a:endParaRPr lang="en-GB"/>
          </a:p>
        </p:txBody>
      </p:sp>
      <p:sp>
        <p:nvSpPr>
          <p:cNvPr id="11" name="Rubrik 1">
            <a:extLst>
              <a:ext uri="{FF2B5EF4-FFF2-40B4-BE49-F238E27FC236}">
                <a16:creationId xmlns:a16="http://schemas.microsoft.com/office/drawing/2014/main" id="{0475505B-3E73-45DD-899D-C788753682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13098" y="2601119"/>
            <a:ext cx="5454650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91220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ssida 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vatten, utomhus, himmel, scen&#10;&#10;Automatiskt genererad beskrivning">
            <a:extLst>
              <a:ext uri="{FF2B5EF4-FFF2-40B4-BE49-F238E27FC236}">
                <a16:creationId xmlns:a16="http://schemas.microsoft.com/office/drawing/2014/main" id="{16BCD11C-D973-4854-A344-6D550EA1D9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718" b="8910"/>
          <a:stretch/>
        </p:blipFill>
        <p:spPr>
          <a:xfrm>
            <a:off x="3048" y="0"/>
            <a:ext cx="12188952" cy="6858000"/>
          </a:xfrm>
          <a:prstGeom prst="rect">
            <a:avLst/>
          </a:prstGeom>
        </p:spPr>
      </p:pic>
      <p:sp>
        <p:nvSpPr>
          <p:cNvPr id="7" name="Sexhörning 6">
            <a:extLst>
              <a:ext uri="{FF2B5EF4-FFF2-40B4-BE49-F238E27FC236}">
                <a16:creationId xmlns:a16="http://schemas.microsoft.com/office/drawing/2014/main" id="{9C81CB57-CC6D-4373-9E8C-26764891F91B}"/>
              </a:ext>
            </a:extLst>
          </p:cNvPr>
          <p:cNvSpPr/>
          <p:nvPr userDrawn="1"/>
        </p:nvSpPr>
        <p:spPr>
          <a:xfrm>
            <a:off x="1905000" y="0"/>
            <a:ext cx="7943850" cy="6858000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2" descr="Bildresultat fÃ¶r logo business region gÃ¶teborg">
            <a:extLst>
              <a:ext uri="{FF2B5EF4-FFF2-40B4-BE49-F238E27FC236}">
                <a16:creationId xmlns:a16="http://schemas.microsoft.com/office/drawing/2014/main" id="{97F78054-1A5F-49C5-9D0A-650A447FDAC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clrChange>
              <a:clrFrom>
                <a:srgbClr val="0068A9"/>
              </a:clrFrom>
              <a:clrTo>
                <a:srgbClr val="0068A9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00425" y="1524000"/>
            <a:ext cx="5080000" cy="381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latshållare för text 5">
            <a:extLst>
              <a:ext uri="{FF2B5EF4-FFF2-40B4-BE49-F238E27FC236}">
                <a16:creationId xmlns:a16="http://schemas.microsoft.com/office/drawing/2014/main" id="{FDA51B77-D4D1-421E-A001-AC87B8F2E0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626168" y="969255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Underrubrik 2">
            <a:extLst>
              <a:ext uri="{FF2B5EF4-FFF2-40B4-BE49-F238E27FC236}">
                <a16:creationId xmlns:a16="http://schemas.microsoft.com/office/drawing/2014/main" id="{D5DF9CD7-B6B8-4C64-80AE-FC155A34F0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81823" y="4696119"/>
            <a:ext cx="2917203" cy="933254"/>
          </a:xfrm>
        </p:spPr>
        <p:txBody>
          <a:bodyPr anchor="b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ontakt: </a:t>
            </a:r>
            <a:br>
              <a:rPr lang="sv-SE"/>
            </a:br>
            <a:r>
              <a:rPr lang="sv-SE"/>
              <a:t>namn </a:t>
            </a:r>
            <a:br>
              <a:rPr lang="sv-SE"/>
            </a:br>
            <a:r>
              <a:rPr lang="sv-SE" err="1"/>
              <a:t>tel</a:t>
            </a:r>
            <a:r>
              <a:rPr lang="sv-SE"/>
              <a:t> och mailadress</a:t>
            </a:r>
            <a:endParaRPr lang="en-GB"/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id="{AEDC73C1-CA14-4BAB-A605-17C623C8EF96}"/>
              </a:ext>
            </a:extLst>
          </p:cNvPr>
          <p:cNvSpPr txBox="1"/>
          <p:nvPr userDrawn="1"/>
        </p:nvSpPr>
        <p:spPr>
          <a:xfrm>
            <a:off x="3800475" y="6296718"/>
            <a:ext cx="41529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100" cap="all" baseline="0">
                <a:solidFill>
                  <a:schemeClr val="bg1"/>
                </a:solidFill>
              </a:rPr>
              <a:t>Business region göteborg – en del </a:t>
            </a:r>
            <a:br>
              <a:rPr lang="sv-SE" sz="1100" cap="all" baseline="0">
                <a:solidFill>
                  <a:schemeClr val="bg1"/>
                </a:solidFill>
              </a:rPr>
            </a:br>
            <a:r>
              <a:rPr lang="sv-SE" sz="1100" cap="all" baseline="0">
                <a:solidFill>
                  <a:schemeClr val="bg1"/>
                </a:solidFill>
              </a:rPr>
              <a:t>av göteborgs stad i samarbete med regionen</a:t>
            </a:r>
          </a:p>
        </p:txBody>
      </p:sp>
    </p:spTree>
    <p:extLst>
      <p:ext uri="{BB962C8B-B14F-4D97-AF65-F5344CB8AC3E}">
        <p14:creationId xmlns:p14="http://schemas.microsoft.com/office/powerpoint/2010/main" val="18954237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ssida ver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Bildresultat fÃ¶r logo business region gÃ¶teborg">
            <a:extLst>
              <a:ext uri="{FF2B5EF4-FFF2-40B4-BE49-F238E27FC236}">
                <a16:creationId xmlns:a16="http://schemas.microsoft.com/office/drawing/2014/main" id="{72EEC8DB-6C4B-4BFC-9598-1332D11D2B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0068A9"/>
              </a:clrFrom>
              <a:clrTo>
                <a:srgbClr val="0068A9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00425" y="1524000"/>
            <a:ext cx="5080000" cy="381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Underrubrik 2">
            <a:extLst>
              <a:ext uri="{FF2B5EF4-FFF2-40B4-BE49-F238E27FC236}">
                <a16:creationId xmlns:a16="http://schemas.microsoft.com/office/drawing/2014/main" id="{C975FBF4-9F29-4BAB-99E2-DADE0991EB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9788" y="370769"/>
            <a:ext cx="4572000" cy="933254"/>
          </a:xfrm>
        </p:spPr>
        <p:txBody>
          <a:bodyPr anchor="b">
            <a:normAutofit/>
          </a:bodyPr>
          <a:lstStyle>
            <a:lvl1pPr marL="0" indent="0" algn="l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ontakt: </a:t>
            </a:r>
            <a:br>
              <a:rPr lang="sv-SE"/>
            </a:br>
            <a:r>
              <a:rPr lang="sv-SE"/>
              <a:t>namn</a:t>
            </a:r>
            <a:br>
              <a:rPr lang="sv-SE"/>
            </a:br>
            <a:r>
              <a:rPr lang="sv-SE" err="1"/>
              <a:t>tel</a:t>
            </a:r>
            <a:r>
              <a:rPr lang="sv-SE"/>
              <a:t> och mailadress</a:t>
            </a:r>
            <a:endParaRPr lang="en-GB"/>
          </a:p>
        </p:txBody>
      </p:sp>
      <p:sp>
        <p:nvSpPr>
          <p:cNvPr id="8" name="Platshållare för text 5">
            <a:extLst>
              <a:ext uri="{FF2B5EF4-FFF2-40B4-BE49-F238E27FC236}">
                <a16:creationId xmlns:a16="http://schemas.microsoft.com/office/drawing/2014/main" id="{DBEB03BB-830E-4148-A326-8D0E43DE23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752073" y="497915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/>
              <a:t>Tryck här om du vill lägga till text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B0659B0D-FBB5-4D2A-AE50-4EB88F0DC37D}"/>
              </a:ext>
            </a:extLst>
          </p:cNvPr>
          <p:cNvSpPr txBox="1"/>
          <p:nvPr userDrawn="1"/>
        </p:nvSpPr>
        <p:spPr>
          <a:xfrm>
            <a:off x="839788" y="6405095"/>
            <a:ext cx="105124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200" cap="all" baseline="0">
                <a:solidFill>
                  <a:schemeClr val="bg1"/>
                </a:solidFill>
              </a:rPr>
              <a:t>Business region göteborg – en del av göteborgs stad i samarbete med regionen</a:t>
            </a:r>
          </a:p>
        </p:txBody>
      </p:sp>
    </p:spTree>
    <p:extLst>
      <p:ext uri="{BB962C8B-B14F-4D97-AF65-F5344CB8AC3E}">
        <p14:creationId xmlns:p14="http://schemas.microsoft.com/office/powerpoint/2010/main" val="23309636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9/01/2023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EED07C5C-5D6C-4952-8EA0-E8341C74FB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74849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9/01/2023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45260618-5032-4CA5-ADE2-51B4599833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21009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9/01/2023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F14EFC7-DD15-450C-9679-EC5B2ABD38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78890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1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9/01/2023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79175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2">
    <p:bg>
      <p:bgPr>
        <a:solidFill>
          <a:srgbClr val="8FB8C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9/01/2023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249A26DA-9AA1-4E87-8115-CF8413A69C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62627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Rubrik och innehåll 3">
    <p:bg>
      <p:bgPr>
        <a:solidFill>
          <a:srgbClr val="3B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9/01/2023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0BDD1F87-5733-4739-8F6C-0C15C678AD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9DF83555-6640-457A-A3EC-169EEFFCFF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96768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nittsrubrik">
    <p:bg>
      <p:bgPr>
        <a:solidFill>
          <a:srgbClr val="3B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FF242134-2D76-4DCB-88C7-19CDE0CE5B2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3499" y="1768476"/>
            <a:ext cx="9486901" cy="2753620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</a:t>
            </a:r>
            <a:br>
              <a:rPr lang="sv-SE"/>
            </a:br>
            <a:r>
              <a:rPr lang="sv-SE"/>
              <a:t>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591864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höger">
    <p:bg>
      <p:bgPr>
        <a:solidFill>
          <a:srgbClr val="3A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49350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4DAF063B-7068-450F-B5C5-EFF538607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9" y="2004565"/>
            <a:ext cx="5256213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9262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 text vänster">
    <p:bg>
      <p:bgPr>
        <a:solidFill>
          <a:srgbClr val="3A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4DAF063B-7068-450F-B5C5-EFF538607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5600" y="2004565"/>
            <a:ext cx="4470401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85347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rubrik och text">
    <p:bg>
      <p:bgPr>
        <a:solidFill>
          <a:srgbClr val="3B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62ABE50D-60DA-4704-89D7-730FD6C5F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8843" y="1126379"/>
            <a:ext cx="4470401" cy="2169082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7" name="Platshållare för text 3">
            <a:extLst>
              <a:ext uri="{FF2B5EF4-FFF2-40B4-BE49-F238E27FC236}">
                <a16:creationId xmlns:a16="http://schemas.microsoft.com/office/drawing/2014/main" id="{41C8E73C-019E-4FB7-946D-69FAB814CF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98843" y="3381376"/>
            <a:ext cx="4470401" cy="235024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69159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 och text">
    <p:bg>
      <p:bgPr>
        <a:solidFill>
          <a:srgbClr val="3A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id="{5A8275A8-C307-4AD1-8F7E-DA508226EA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Platshållare för text 3">
            <a:extLst>
              <a:ext uri="{FF2B5EF4-FFF2-40B4-BE49-F238E27FC236}">
                <a16:creationId xmlns:a16="http://schemas.microsoft.com/office/drawing/2014/main" id="{CAADFD81-8A4D-4B19-AB85-21FD9D7DBA9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14737" y="2959894"/>
            <a:ext cx="4962525" cy="306863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8" name="Rubrik 1">
            <a:extLst>
              <a:ext uri="{FF2B5EF4-FFF2-40B4-BE49-F238E27FC236}">
                <a16:creationId xmlns:a16="http://schemas.microsoft.com/office/drawing/2014/main" id="{85626E8B-2171-41E8-8EDA-1BEF72CF26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40046" y="977107"/>
            <a:ext cx="8111905" cy="1957387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</a:t>
            </a:r>
            <a:br>
              <a:rPr lang="sv-SE"/>
            </a:br>
            <a:r>
              <a:rPr lang="sv-SE"/>
              <a:t>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042699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9/01/2023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69845B8F-4287-48D6-8BA9-E08192F8D4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364495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9/01/2023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5C489BE3-1DB9-4564-856D-F1DF541A18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990084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9/01/2023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8B315424-357B-4647-888E-3606002F18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94058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9/01/2023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857DEDD3-A814-4D6F-9E66-12FC02C37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92870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Rubrik och innehåll 2">
    <p:bg>
      <p:bgPr>
        <a:solidFill>
          <a:srgbClr val="7DB0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9/01/2023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1AECFE1F-46CA-47E1-8975-5D40073266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E2CCB681-7F37-424C-9893-04F3F63AAC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98802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Rubrik och innehåll 3">
    <p:bg>
      <p:bgPr>
        <a:solidFill>
          <a:srgbClr val="366D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9/01/2023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1AECFE1F-46CA-47E1-8975-5D40073266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81B07E8F-F509-4FA1-8C96-D504CBD40A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9369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">
    <p:bg>
      <p:bgPr>
        <a:solidFill>
          <a:srgbClr val="366D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BB6958F0-2A15-44E3-B238-6754FB35F17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4" name="Rubrik 1">
            <a:extLst>
              <a:ext uri="{FF2B5EF4-FFF2-40B4-BE49-F238E27FC236}">
                <a16:creationId xmlns:a16="http://schemas.microsoft.com/office/drawing/2014/main" id="{EEE7F9D6-9680-4FEE-BDE5-3645DFD6CF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3499" y="1768476"/>
            <a:ext cx="9486901" cy="2753620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</a:t>
            </a:r>
            <a:br>
              <a:rPr lang="sv-SE"/>
            </a:br>
            <a:r>
              <a:rPr lang="sv-SE"/>
              <a:t>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7685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höger">
    <p:bg>
      <p:bgPr>
        <a:solidFill>
          <a:srgbClr val="3764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49350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4DAF063B-7068-450F-B5C5-EFF538607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9" y="2004565"/>
            <a:ext cx="5256213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9484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vänster">
    <p:bg>
      <p:bgPr>
        <a:solidFill>
          <a:srgbClr val="3664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78AB7606-988D-42F0-A656-62DDF5F76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5600" y="2004565"/>
            <a:ext cx="4470401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641561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rubrik och text">
    <p:bg>
      <p:bgPr>
        <a:solidFill>
          <a:srgbClr val="366D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62ABE50D-60DA-4704-89D7-730FD6C5F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8843" y="1126379"/>
            <a:ext cx="4470401" cy="2169082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7" name="Platshållare för text 3">
            <a:extLst>
              <a:ext uri="{FF2B5EF4-FFF2-40B4-BE49-F238E27FC236}">
                <a16:creationId xmlns:a16="http://schemas.microsoft.com/office/drawing/2014/main" id="{41C8E73C-019E-4FB7-946D-69FAB814CF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98843" y="3381376"/>
            <a:ext cx="4470401" cy="235024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52149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 och text">
    <p:bg>
      <p:bgPr>
        <a:solidFill>
          <a:srgbClr val="3764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id="{5A8275A8-C307-4AD1-8F7E-DA508226EA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Platshållare för text 3">
            <a:extLst>
              <a:ext uri="{FF2B5EF4-FFF2-40B4-BE49-F238E27FC236}">
                <a16:creationId xmlns:a16="http://schemas.microsoft.com/office/drawing/2014/main" id="{16CDB862-2D7B-473E-BC6D-F8CFA5DF243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14737" y="2959894"/>
            <a:ext cx="4962525" cy="306863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8" name="Rubrik 1">
            <a:extLst>
              <a:ext uri="{FF2B5EF4-FFF2-40B4-BE49-F238E27FC236}">
                <a16:creationId xmlns:a16="http://schemas.microsoft.com/office/drawing/2014/main" id="{47600C6A-5AEB-42FC-9C76-61FCED2A15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40046" y="977107"/>
            <a:ext cx="8111905" cy="1957387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</a:t>
            </a:r>
            <a:br>
              <a:rPr lang="sv-SE"/>
            </a:br>
            <a:r>
              <a:rPr lang="sv-SE"/>
              <a:t>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129015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 slide - grön bakgrund">
    <p:bg>
      <p:bgPr>
        <a:solidFill>
          <a:srgbClr val="366D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42CF58E-6A96-427D-B83E-8C1C7F34A6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42CF58E-6A96-427D-B83E-8C1C7F34A6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3BB832D-2F8A-4212-9AA6-80C81A7C37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9/01/2023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F5BD0D28-8257-411C-A4F5-4F7A65B2D4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FA82BA86-F103-445E-8AF8-CA1FC78BE7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ubrik 1">
            <a:extLst>
              <a:ext uri="{FF2B5EF4-FFF2-40B4-BE49-F238E27FC236}">
                <a16:creationId xmlns:a16="http://schemas.microsoft.com/office/drawing/2014/main" id="{D15B72E5-A9F6-4004-93E2-00E7D2AA47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30250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8" name="Platshållare för text 6">
            <a:extLst>
              <a:ext uri="{FF2B5EF4-FFF2-40B4-BE49-F238E27FC236}">
                <a16:creationId xmlns:a16="http://schemas.microsoft.com/office/drawing/2014/main" id="{FA72975F-042F-4A27-95B7-63D21802D89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F6C48746-5ED4-4CEC-8584-96AB5D8BE25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0" name="Platshållare för text 10">
            <a:extLst>
              <a:ext uri="{FF2B5EF4-FFF2-40B4-BE49-F238E27FC236}">
                <a16:creationId xmlns:a16="http://schemas.microsoft.com/office/drawing/2014/main" id="{AF2B12CA-0007-473E-A64C-2D1A7EFAF7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3B340376-58C1-4BB6-AE6F-FDDF0F24DB9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0346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9/01/2023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362227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9/01/2023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857DEDD3-A814-4D6F-9E66-12FC02C37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70615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9/01/2023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6B0B13C-2727-4B02-8983-8C9B30C67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179018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9/01/2023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6B0B13C-2727-4B02-8983-8C9B30C67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084543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Rubrik och innehåll 2">
    <p:bg>
      <p:bgPr>
        <a:solidFill>
          <a:srgbClr val="EAB39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9/01/2023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4DF4D70F-839A-453D-B7D6-C421678B46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6979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Rubrik och innehåll 3">
    <p:bg>
      <p:bgPr>
        <a:solidFill>
          <a:srgbClr val="D362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9/01/2023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4DF4D70F-839A-453D-B7D6-C421678B46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1613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">
    <p:bg>
      <p:bgPr>
        <a:solidFill>
          <a:srgbClr val="D362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1D5B180A-3DF6-47CC-AB1A-DCA2BC6DD0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4" name="Rubrik 1">
            <a:extLst>
              <a:ext uri="{FF2B5EF4-FFF2-40B4-BE49-F238E27FC236}">
                <a16:creationId xmlns:a16="http://schemas.microsoft.com/office/drawing/2014/main" id="{E99020E0-A852-4042-ADEF-ECA93E2E55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3499" y="1768476"/>
            <a:ext cx="9486901" cy="2753620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</a:t>
            </a:r>
            <a:br>
              <a:rPr lang="sv-SE"/>
            </a:br>
            <a:r>
              <a:rPr lang="sv-SE"/>
              <a:t>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773921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höger">
    <p:bg>
      <p:bgPr>
        <a:solidFill>
          <a:srgbClr val="D362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49350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4DAF063B-7068-450F-B5C5-EFF538607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9" y="2004565"/>
            <a:ext cx="5256213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42984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vänster">
    <p:bg>
      <p:bgPr>
        <a:solidFill>
          <a:srgbClr val="D362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38EE0AEC-80F2-495B-A4B7-E8970ECFE5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5600" y="2004565"/>
            <a:ext cx="4470401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616203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rubrik och text">
    <p:bg>
      <p:bgPr>
        <a:solidFill>
          <a:srgbClr val="D462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62ABE50D-60DA-4704-89D7-730FD6C5F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8843" y="1126379"/>
            <a:ext cx="4470401" cy="2169082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7" name="Platshållare för text 3">
            <a:extLst>
              <a:ext uri="{FF2B5EF4-FFF2-40B4-BE49-F238E27FC236}">
                <a16:creationId xmlns:a16="http://schemas.microsoft.com/office/drawing/2014/main" id="{41C8E73C-019E-4FB7-946D-69FAB814CF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98843" y="3381376"/>
            <a:ext cx="4470401" cy="235024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947428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 och text">
    <p:bg>
      <p:bgPr>
        <a:solidFill>
          <a:srgbClr val="D362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id="{5A8275A8-C307-4AD1-8F7E-DA508226EA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EAE1345A-7B66-4024-AC86-89BEC265F3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14737" y="2959894"/>
            <a:ext cx="4962525" cy="306863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Rubrik 1">
            <a:extLst>
              <a:ext uri="{FF2B5EF4-FFF2-40B4-BE49-F238E27FC236}">
                <a16:creationId xmlns:a16="http://schemas.microsoft.com/office/drawing/2014/main" id="{60FBC1D3-6E1F-4CC8-BA73-3479F89032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40046" y="977107"/>
            <a:ext cx="8111905" cy="1957387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</a:t>
            </a:r>
            <a:br>
              <a:rPr lang="sv-SE"/>
            </a:br>
            <a:r>
              <a:rPr lang="sv-SE"/>
              <a:t>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515976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 slide - röd bakgrund">
    <p:bg>
      <p:bgPr>
        <a:solidFill>
          <a:srgbClr val="D362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42CF58E-6A96-427D-B83E-8C1C7F34A6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3215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42CF58E-6A96-427D-B83E-8C1C7F34A6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3BB832D-2F8A-4212-9AA6-80C81A7C37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9/01/2023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F5BD0D28-8257-411C-A4F5-4F7A65B2D4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FA82BA86-F103-445E-8AF8-CA1FC78BE7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ubrik 1">
            <a:extLst>
              <a:ext uri="{FF2B5EF4-FFF2-40B4-BE49-F238E27FC236}">
                <a16:creationId xmlns:a16="http://schemas.microsoft.com/office/drawing/2014/main" id="{D15B72E5-A9F6-4004-93E2-00E7D2AA47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30250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8" name="Platshållare för text 6">
            <a:extLst>
              <a:ext uri="{FF2B5EF4-FFF2-40B4-BE49-F238E27FC236}">
                <a16:creationId xmlns:a16="http://schemas.microsoft.com/office/drawing/2014/main" id="{FA72975F-042F-4A27-95B7-63D21802D89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F6C48746-5ED4-4CEC-8584-96AB5D8BE25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0" name="Platshållare för text 10">
            <a:extLst>
              <a:ext uri="{FF2B5EF4-FFF2-40B4-BE49-F238E27FC236}">
                <a16:creationId xmlns:a16="http://schemas.microsoft.com/office/drawing/2014/main" id="{AF2B12CA-0007-473E-A64C-2D1A7EFAF7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3B340376-58C1-4BB6-AE6F-FDDF0F24DB9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779743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fä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F8C60DCD-261B-490D-B3A4-701A00466BCF}"/>
              </a:ext>
            </a:extLst>
          </p:cNvPr>
          <p:cNvSpPr/>
          <p:nvPr userDrawn="1"/>
        </p:nvSpPr>
        <p:spPr>
          <a:xfrm>
            <a:off x="6096000" y="0"/>
            <a:ext cx="6096000" cy="3429000"/>
          </a:xfrm>
          <a:prstGeom prst="rect">
            <a:avLst/>
          </a:prstGeom>
          <a:solidFill>
            <a:srgbClr val="F6F5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0A853BC8-B293-4F35-A125-5F1572EBE207}"/>
              </a:ext>
            </a:extLst>
          </p:cNvPr>
          <p:cNvSpPr/>
          <p:nvPr userDrawn="1"/>
        </p:nvSpPr>
        <p:spPr>
          <a:xfrm>
            <a:off x="6096000" y="3429000"/>
            <a:ext cx="6096000" cy="3429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CB18A62A-A023-484F-89AF-42129BA6C713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F7E4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765D50D-E710-4A86-9CA9-F1A391A339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9/01/2023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A84600CF-EE34-4E8C-97DB-31CB1C660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D452CD42-AE87-47F2-A68C-C40391C95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13" name="Bildobjekt 12">
            <a:extLst>
              <a:ext uri="{FF2B5EF4-FFF2-40B4-BE49-F238E27FC236}">
                <a16:creationId xmlns:a16="http://schemas.microsoft.com/office/drawing/2014/main" id="{06F418A7-6BF2-42AF-9489-F08EBD3AE5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6" y="5961760"/>
            <a:ext cx="1056313" cy="681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67832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9/01/2023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96854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fäl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F8C60DCD-261B-490D-B3A4-701A00466B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6F5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0A853BC8-B293-4F35-A125-5F1572EBE207}"/>
              </a:ext>
            </a:extLst>
          </p:cNvPr>
          <p:cNvSpPr/>
          <p:nvPr userDrawn="1"/>
        </p:nvSpPr>
        <p:spPr>
          <a:xfrm>
            <a:off x="0" y="3429000"/>
            <a:ext cx="6096000" cy="3429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CB18A62A-A023-484F-89AF-42129BA6C713}"/>
              </a:ext>
            </a:extLst>
          </p:cNvPr>
          <p:cNvSpPr/>
          <p:nvPr userDrawn="1"/>
        </p:nvSpPr>
        <p:spPr>
          <a:xfrm>
            <a:off x="0" y="0"/>
            <a:ext cx="6096000" cy="3429000"/>
          </a:xfrm>
          <a:prstGeom prst="rect">
            <a:avLst/>
          </a:prstGeom>
          <a:solidFill>
            <a:srgbClr val="F7E4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765D50D-E710-4A86-9CA9-F1A391A339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9/01/2023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A84600CF-EE34-4E8C-97DB-31CB1C660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D452CD42-AE87-47F2-A68C-C40391C95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023358FC-B3BC-4DF1-8DBF-6E0CE8A7C2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6" y="5961760"/>
            <a:ext cx="1056313" cy="681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057404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yra fä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F8C60DCD-261B-490D-B3A4-701A00466BCF}"/>
              </a:ext>
            </a:extLst>
          </p:cNvPr>
          <p:cNvSpPr/>
          <p:nvPr userDrawn="1"/>
        </p:nvSpPr>
        <p:spPr>
          <a:xfrm>
            <a:off x="0" y="0"/>
            <a:ext cx="6096000" cy="3429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69E00A-44DE-458C-A5AB-003B511C5DA4}"/>
              </a:ext>
            </a:extLst>
          </p:cNvPr>
          <p:cNvSpPr/>
          <p:nvPr userDrawn="1"/>
        </p:nvSpPr>
        <p:spPr>
          <a:xfrm>
            <a:off x="0" y="3429000"/>
            <a:ext cx="6096000" cy="3429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0A853BC8-B293-4F35-A125-5F1572EBE207}"/>
              </a:ext>
            </a:extLst>
          </p:cNvPr>
          <p:cNvSpPr/>
          <p:nvPr userDrawn="1"/>
        </p:nvSpPr>
        <p:spPr>
          <a:xfrm>
            <a:off x="6096000" y="3429000"/>
            <a:ext cx="6096000" cy="3429000"/>
          </a:xfrm>
          <a:prstGeom prst="rect">
            <a:avLst/>
          </a:prstGeom>
          <a:solidFill>
            <a:srgbClr val="F6F5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CB18A62A-A023-484F-89AF-42129BA6C713}"/>
              </a:ext>
            </a:extLst>
          </p:cNvPr>
          <p:cNvSpPr/>
          <p:nvPr userDrawn="1"/>
        </p:nvSpPr>
        <p:spPr>
          <a:xfrm>
            <a:off x="6096000" y="0"/>
            <a:ext cx="6096000" cy="3429000"/>
          </a:xfrm>
          <a:prstGeom prst="rect">
            <a:avLst/>
          </a:prstGeom>
          <a:solidFill>
            <a:srgbClr val="F7E4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765D50D-E710-4A86-9CA9-F1A391A339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9/01/2023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A84600CF-EE34-4E8C-97DB-31CB1C660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D452CD42-AE87-47F2-A68C-C40391C95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80E0DD7C-63F4-4A96-9728-26D858125C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6" y="5961760"/>
            <a:ext cx="1056313" cy="681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060565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yra fäl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 1">
            <a:extLst>
              <a:ext uri="{FF2B5EF4-FFF2-40B4-BE49-F238E27FC236}">
                <a16:creationId xmlns:a16="http://schemas.microsoft.com/office/drawing/2014/main" id="{F041DA1A-C1EC-4B7A-8CEB-C7C3766F14FD}"/>
              </a:ext>
            </a:extLst>
          </p:cNvPr>
          <p:cNvGrpSpPr/>
          <p:nvPr userDrawn="1"/>
        </p:nvGrpSpPr>
        <p:grpSpPr>
          <a:xfrm>
            <a:off x="0" y="3429000"/>
            <a:ext cx="12192000" cy="3429000"/>
            <a:chOff x="0" y="3429000"/>
            <a:chExt cx="11147079" cy="3429000"/>
          </a:xfrm>
        </p:grpSpPr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F8C60DCD-261B-490D-B3A4-701A00466BCF}"/>
                </a:ext>
              </a:extLst>
            </p:cNvPr>
            <p:cNvSpPr/>
            <p:nvPr userDrawn="1"/>
          </p:nvSpPr>
          <p:spPr>
            <a:xfrm>
              <a:off x="0" y="3429000"/>
              <a:ext cx="3715693" cy="3429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" name="Rektangel 7">
              <a:extLst>
                <a:ext uri="{FF2B5EF4-FFF2-40B4-BE49-F238E27FC236}">
                  <a16:creationId xmlns:a16="http://schemas.microsoft.com/office/drawing/2014/main" id="{0A853BC8-B293-4F35-A125-5F1572EBE207}"/>
                </a:ext>
              </a:extLst>
            </p:cNvPr>
            <p:cNvSpPr/>
            <p:nvPr userDrawn="1"/>
          </p:nvSpPr>
          <p:spPr>
            <a:xfrm>
              <a:off x="7431386" y="3429000"/>
              <a:ext cx="3715693" cy="3429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" name="Rektangel 5">
              <a:extLst>
                <a:ext uri="{FF2B5EF4-FFF2-40B4-BE49-F238E27FC236}">
                  <a16:creationId xmlns:a16="http://schemas.microsoft.com/office/drawing/2014/main" id="{CB18A62A-A023-484F-89AF-42129BA6C713}"/>
                </a:ext>
              </a:extLst>
            </p:cNvPr>
            <p:cNvSpPr/>
            <p:nvPr userDrawn="1"/>
          </p:nvSpPr>
          <p:spPr>
            <a:xfrm>
              <a:off x="3715693" y="3429000"/>
              <a:ext cx="3715693" cy="3429000"/>
            </a:xfrm>
            <a:prstGeom prst="rect">
              <a:avLst/>
            </a:prstGeom>
            <a:solidFill>
              <a:srgbClr val="F7E4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765D50D-E710-4A86-9CA9-F1A391A339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9/01/2023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A84600CF-EE34-4E8C-97DB-31CB1C660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D452CD42-AE87-47F2-A68C-C40391C95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69E00A-44DE-458C-A5AB-003B511C5DA4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rgbClr val="F6F5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6D1A5460-A635-4EB6-8F12-2D7CD0A5ED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6" y="5961760"/>
            <a:ext cx="1056313" cy="681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616139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 slide ljus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94A648B-C5A8-4439-A48C-3BBC5138F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30250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9/01/2023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1" name="Platshållare för text 10">
            <a:extLst>
              <a:ext uri="{FF2B5EF4-FFF2-40B4-BE49-F238E27FC236}">
                <a16:creationId xmlns:a16="http://schemas.microsoft.com/office/drawing/2014/main" id="{199265A6-E441-4438-BBAD-F915E85A711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230184528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 slide mö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94A648B-C5A8-4439-A48C-3BBC5138F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30250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9/01/2023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67D922B1-182B-4078-A655-11FDCAD7B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12" name="Platshållare för text 10">
            <a:extLst>
              <a:ext uri="{FF2B5EF4-FFF2-40B4-BE49-F238E27FC236}">
                <a16:creationId xmlns:a16="http://schemas.microsoft.com/office/drawing/2014/main" id="{A8881C00-8B57-4A24-99DC-27F5070F66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345710780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tfallande bild - vit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03F0252-6F7A-41F6-932A-2ABA40F0BD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9/01/2023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511473DD-8586-45C2-81AF-CC1245C543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71027AC-FA49-4616-8B9D-A5A6AC576A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845BF8B0-27B3-4FA2-8988-01F8DFEC72C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GB"/>
          </a:p>
        </p:txBody>
      </p:sp>
      <p:sp>
        <p:nvSpPr>
          <p:cNvPr id="8" name="Platshållare för bild 10">
            <a:extLst>
              <a:ext uri="{FF2B5EF4-FFF2-40B4-BE49-F238E27FC236}">
                <a16:creationId xmlns:a16="http://schemas.microsoft.com/office/drawing/2014/main" id="{59277E7C-C3DD-4BC0-B95A-ECABF576D53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9" name="Rektangel: rundade hörn 8">
            <a:extLst>
              <a:ext uri="{FF2B5EF4-FFF2-40B4-BE49-F238E27FC236}">
                <a16:creationId xmlns:a16="http://schemas.microsoft.com/office/drawing/2014/main" id="{8C4EFF6E-2525-42AC-AF27-D26AAEC25D67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Ifall du tar bort en bild och ersätter med ny kommer bilden hamna ovanpå loggan. </a:t>
            </a:r>
          </a:p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</p:spTree>
    <p:extLst>
      <p:ext uri="{BB962C8B-B14F-4D97-AF65-F5344CB8AC3E}">
        <p14:creationId xmlns:p14="http://schemas.microsoft.com/office/powerpoint/2010/main" val="220962033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tfallande bild - blå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03F0252-6F7A-41F6-932A-2ABA40F0BD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9/01/2023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511473DD-8586-45C2-81AF-CC1245C543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71027AC-FA49-4616-8B9D-A5A6AC576A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845BF8B0-27B3-4FA2-8988-01F8DFEC72C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GB"/>
          </a:p>
        </p:txBody>
      </p:sp>
      <p:sp>
        <p:nvSpPr>
          <p:cNvPr id="8" name="Platshållare för bild 10">
            <a:extLst>
              <a:ext uri="{FF2B5EF4-FFF2-40B4-BE49-F238E27FC236}">
                <a16:creationId xmlns:a16="http://schemas.microsoft.com/office/drawing/2014/main" id="{59277E7C-C3DD-4BC0-B95A-ECABF576D53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9" name="Rektangel: rundade hörn 8">
            <a:extLst>
              <a:ext uri="{FF2B5EF4-FFF2-40B4-BE49-F238E27FC236}">
                <a16:creationId xmlns:a16="http://schemas.microsoft.com/office/drawing/2014/main" id="{730C5BC1-BC93-4CC9-BDC9-D55B21E3D245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Ifall du tar bort en bild och ersätter med ny kommer bilden hamna ovanpå loggan. </a:t>
            </a:r>
          </a:p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</p:spTree>
    <p:extLst>
      <p:ext uri="{BB962C8B-B14F-4D97-AF65-F5344CB8AC3E}">
        <p14:creationId xmlns:p14="http://schemas.microsoft.com/office/powerpoint/2010/main" val="213737136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 sidan egen bild vit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>
            <a:extLst>
              <a:ext uri="{FF2B5EF4-FFF2-40B4-BE49-F238E27FC236}">
                <a16:creationId xmlns:a16="http://schemas.microsoft.com/office/drawing/2014/main" id="{0DD3BCDB-96D3-4083-8A3F-F545079B5F0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err="1"/>
              <a:t>Klicka</a:t>
            </a:r>
            <a:r>
              <a:rPr lang="en-GB"/>
              <a:t> </a:t>
            </a:r>
            <a:r>
              <a:rPr lang="en-GB" err="1"/>
              <a:t>här</a:t>
            </a:r>
            <a:r>
              <a:rPr lang="en-GB"/>
              <a:t>, </a:t>
            </a:r>
            <a:r>
              <a:rPr lang="en-GB" err="1"/>
              <a:t>gå</a:t>
            </a:r>
            <a:r>
              <a:rPr lang="en-GB"/>
              <a:t> in under </a:t>
            </a:r>
            <a:r>
              <a:rPr lang="en-GB" err="1"/>
              <a:t>Infoga</a:t>
            </a:r>
            <a:r>
              <a:rPr lang="en-GB"/>
              <a:t>, </a:t>
            </a:r>
            <a:r>
              <a:rPr lang="en-GB" err="1"/>
              <a:t>Bilder</a:t>
            </a:r>
            <a:r>
              <a:rPr lang="en-GB"/>
              <a:t> </a:t>
            </a:r>
            <a:r>
              <a:rPr lang="en-GB" err="1"/>
              <a:t>och</a:t>
            </a:r>
            <a:r>
              <a:rPr lang="en-GB"/>
              <a:t> </a:t>
            </a:r>
            <a:r>
              <a:rPr lang="en-GB" err="1"/>
              <a:t>välj</a:t>
            </a:r>
            <a:r>
              <a:rPr lang="en-GB"/>
              <a:t> </a:t>
            </a:r>
            <a:r>
              <a:rPr lang="en-GB" err="1"/>
              <a:t>önskad</a:t>
            </a:r>
            <a:r>
              <a:rPr lang="en-GB"/>
              <a:t> </a:t>
            </a:r>
            <a:r>
              <a:rPr lang="en-GB" err="1"/>
              <a:t>bild</a:t>
            </a:r>
            <a:r>
              <a:rPr lang="en-GB"/>
              <a:t>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9A78C544-F792-4924-A752-73F7CF26BF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2426509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DB372320-6E42-4D46-BDA2-F4D912521A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87413" y="660400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/>
              <a:t>Namn </a:t>
            </a:r>
            <a:r>
              <a:rPr lang="sv-SE" err="1"/>
              <a:t>Namnesson</a:t>
            </a:r>
            <a:br>
              <a:rPr lang="sv-SE"/>
            </a:br>
            <a:r>
              <a:rPr lang="sv-SE"/>
              <a:t>Titel</a:t>
            </a:r>
          </a:p>
          <a:p>
            <a:pPr lvl="0"/>
            <a:r>
              <a:rPr lang="sv-SE"/>
              <a:t>Datum</a:t>
            </a:r>
          </a:p>
        </p:txBody>
      </p:sp>
      <p:sp>
        <p:nvSpPr>
          <p:cNvPr id="8" name="Platshållare för bild 10">
            <a:extLst>
              <a:ext uri="{FF2B5EF4-FFF2-40B4-BE49-F238E27FC236}">
                <a16:creationId xmlns:a16="http://schemas.microsoft.com/office/drawing/2014/main" id="{470E8E88-3F9E-4AC5-B857-482E7D843EA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7" name="Rektangel: rundade hörn 6">
            <a:extLst>
              <a:ext uri="{FF2B5EF4-FFF2-40B4-BE49-F238E27FC236}">
                <a16:creationId xmlns:a16="http://schemas.microsoft.com/office/drawing/2014/main" id="{72D781E3-12C9-4F82-B8EC-9B8C37ACB4D8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</p:spTree>
    <p:extLst>
      <p:ext uri="{BB962C8B-B14F-4D97-AF65-F5344CB8AC3E}">
        <p14:creationId xmlns:p14="http://schemas.microsoft.com/office/powerpoint/2010/main" val="190382378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 sidan egen bild blå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>
            <a:extLst>
              <a:ext uri="{FF2B5EF4-FFF2-40B4-BE49-F238E27FC236}">
                <a16:creationId xmlns:a16="http://schemas.microsoft.com/office/drawing/2014/main" id="{0DD3BCDB-96D3-4083-8A3F-F545079B5F0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err="1"/>
              <a:t>Klicka</a:t>
            </a:r>
            <a:r>
              <a:rPr lang="en-GB"/>
              <a:t> </a:t>
            </a:r>
            <a:r>
              <a:rPr lang="en-GB" err="1"/>
              <a:t>här</a:t>
            </a:r>
            <a:r>
              <a:rPr lang="en-GB"/>
              <a:t>, </a:t>
            </a:r>
            <a:r>
              <a:rPr lang="en-GB" err="1"/>
              <a:t>gå</a:t>
            </a:r>
            <a:r>
              <a:rPr lang="en-GB"/>
              <a:t> in under </a:t>
            </a:r>
            <a:r>
              <a:rPr lang="en-GB" err="1"/>
              <a:t>Infoga</a:t>
            </a:r>
            <a:r>
              <a:rPr lang="en-GB"/>
              <a:t>, </a:t>
            </a:r>
            <a:r>
              <a:rPr lang="en-GB" err="1"/>
              <a:t>Bilder</a:t>
            </a:r>
            <a:r>
              <a:rPr lang="en-GB"/>
              <a:t> </a:t>
            </a:r>
            <a:r>
              <a:rPr lang="en-GB" err="1"/>
              <a:t>och</a:t>
            </a:r>
            <a:r>
              <a:rPr lang="en-GB"/>
              <a:t> </a:t>
            </a:r>
            <a:r>
              <a:rPr lang="en-GB" err="1"/>
              <a:t>välj</a:t>
            </a:r>
            <a:r>
              <a:rPr lang="en-GB"/>
              <a:t> </a:t>
            </a:r>
            <a:r>
              <a:rPr lang="en-GB" err="1"/>
              <a:t>önskad</a:t>
            </a:r>
            <a:r>
              <a:rPr lang="en-GB"/>
              <a:t> </a:t>
            </a:r>
            <a:r>
              <a:rPr lang="en-GB" err="1"/>
              <a:t>bild</a:t>
            </a:r>
            <a:r>
              <a:rPr lang="en-GB"/>
              <a:t>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9A78C544-F792-4924-A752-73F7CF26BF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2426509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DB372320-6E42-4D46-BDA2-F4D912521A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87413" y="660400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/>
              <a:t>Namn </a:t>
            </a:r>
            <a:r>
              <a:rPr lang="sv-SE" err="1"/>
              <a:t>Namnesson</a:t>
            </a:r>
            <a:br>
              <a:rPr lang="sv-SE"/>
            </a:br>
            <a:r>
              <a:rPr lang="sv-SE"/>
              <a:t>Titel</a:t>
            </a:r>
          </a:p>
          <a:p>
            <a:pPr lvl="0"/>
            <a:r>
              <a:rPr lang="sv-SE"/>
              <a:t>Datum</a:t>
            </a:r>
          </a:p>
        </p:txBody>
      </p:sp>
      <p:sp>
        <p:nvSpPr>
          <p:cNvPr id="7" name="Platshållare för bild 10">
            <a:extLst>
              <a:ext uri="{FF2B5EF4-FFF2-40B4-BE49-F238E27FC236}">
                <a16:creationId xmlns:a16="http://schemas.microsoft.com/office/drawing/2014/main" id="{2BA66C1B-5994-4ACD-AD12-24E33C487B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8" name="Rektangel: rundade hörn 7">
            <a:extLst>
              <a:ext uri="{FF2B5EF4-FFF2-40B4-BE49-F238E27FC236}">
                <a16:creationId xmlns:a16="http://schemas.microsoft.com/office/drawing/2014/main" id="{B3626ED7-6321-478E-8947-0F3935869315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</p:spTree>
    <p:extLst>
      <p:ext uri="{BB962C8B-B14F-4D97-AF65-F5344CB8AC3E}">
        <p14:creationId xmlns:p14="http://schemas.microsoft.com/office/powerpoint/2010/main" val="197257793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ed text i figur - vit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742697A9-0313-4116-882D-2F00B124CA3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6E619D89-D876-4F51-B1D6-671905F9E8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8907" y="1447800"/>
            <a:ext cx="4464050" cy="3867150"/>
          </a:xfrm>
          <a:prstGeom prst="hexagon">
            <a:avLst/>
          </a:prstGeom>
          <a:solidFill>
            <a:srgbClr val="FFFFFF">
              <a:alpha val="80000"/>
            </a:srgbClr>
          </a:solidFill>
        </p:spPr>
        <p:txBody>
          <a:bodyPr anchor="ctr"/>
          <a:lstStyle>
            <a:lvl1pPr marL="0" indent="0" algn="ctr">
              <a:buNone/>
              <a:defRPr/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2" name="Platshållare för bild 10">
            <a:extLst>
              <a:ext uri="{FF2B5EF4-FFF2-40B4-BE49-F238E27FC236}">
                <a16:creationId xmlns:a16="http://schemas.microsoft.com/office/drawing/2014/main" id="{3D148F17-13AF-4C40-9087-DA7F3B070FB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5" name="Rektangel: rundade hörn 4">
            <a:extLst>
              <a:ext uri="{FF2B5EF4-FFF2-40B4-BE49-F238E27FC236}">
                <a16:creationId xmlns:a16="http://schemas.microsoft.com/office/drawing/2014/main" id="{D5678BBE-7A67-4AEE-B763-A65DD01737AA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</p:spTree>
    <p:extLst>
      <p:ext uri="{BB962C8B-B14F-4D97-AF65-F5344CB8AC3E}">
        <p14:creationId xmlns:p14="http://schemas.microsoft.com/office/powerpoint/2010/main" val="23891603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3">
    <p:bg>
      <p:bgPr>
        <a:solidFill>
          <a:srgbClr val="9D9C9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9/01/2023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60127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ed text i figur - blå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742697A9-0313-4116-882D-2F00B124CA3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6E619D89-D876-4F51-B1D6-671905F9E8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8907" y="1447800"/>
            <a:ext cx="4464050" cy="3867150"/>
          </a:xfrm>
          <a:prstGeom prst="hexagon">
            <a:avLst/>
          </a:prstGeom>
          <a:solidFill>
            <a:srgbClr val="FFFFFF">
              <a:alpha val="80000"/>
            </a:srgbClr>
          </a:solidFill>
        </p:spPr>
        <p:txBody>
          <a:bodyPr anchor="ctr"/>
          <a:lstStyle>
            <a:lvl1pPr marL="0" indent="0" algn="ctr">
              <a:buNone/>
              <a:defRPr/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Rektangel: rundade hörn 4">
            <a:extLst>
              <a:ext uri="{FF2B5EF4-FFF2-40B4-BE49-F238E27FC236}">
                <a16:creationId xmlns:a16="http://schemas.microsoft.com/office/drawing/2014/main" id="{D5678BBE-7A67-4AEE-B763-A65DD01737AA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  <p:sp>
        <p:nvSpPr>
          <p:cNvPr id="6" name="Platshållare för bild 10">
            <a:extLst>
              <a:ext uri="{FF2B5EF4-FFF2-40B4-BE49-F238E27FC236}">
                <a16:creationId xmlns:a16="http://schemas.microsoft.com/office/drawing/2014/main" id="{CD566EE3-75D9-4E00-9E54-09F600894F5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4275456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>
            <a:extLst>
              <a:ext uri="{FF2B5EF4-FFF2-40B4-BE49-F238E27FC236}">
                <a16:creationId xmlns:a16="http://schemas.microsoft.com/office/drawing/2014/main" id="{624DF18A-D69A-4574-944C-06427C8DA64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Sexhörning 7">
            <a:extLst>
              <a:ext uri="{FF2B5EF4-FFF2-40B4-BE49-F238E27FC236}">
                <a16:creationId xmlns:a16="http://schemas.microsoft.com/office/drawing/2014/main" id="{415A18FA-016E-4D89-B028-3A9DB7D3102D}"/>
              </a:ext>
            </a:extLst>
          </p:cNvPr>
          <p:cNvSpPr/>
          <p:nvPr userDrawn="1"/>
        </p:nvSpPr>
        <p:spPr>
          <a:xfrm>
            <a:off x="1905000" y="0"/>
            <a:ext cx="7943850" cy="6857999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EC3377C-8C0F-4E16-A7CA-12BAB2F800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48000" y="2596192"/>
            <a:ext cx="5676900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241B97A3-A308-4065-B749-0D4B5A8C848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9" name="Underrubrik 2">
            <a:extLst>
              <a:ext uri="{FF2B5EF4-FFF2-40B4-BE49-F238E27FC236}">
                <a16:creationId xmlns:a16="http://schemas.microsoft.com/office/drawing/2014/main" id="{F52BC1B4-A830-4337-A012-A1925FF1E3C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54412" y="5709736"/>
            <a:ext cx="4572000" cy="933254"/>
          </a:xfrm>
        </p:spPr>
        <p:txBody>
          <a:bodyPr anchor="b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Namn</a:t>
            </a:r>
          </a:p>
          <a:p>
            <a:r>
              <a:rPr lang="sv-SE"/>
              <a:t>Titel</a:t>
            </a:r>
            <a:endParaRPr lang="en-GB"/>
          </a:p>
        </p:txBody>
      </p:sp>
      <p:sp>
        <p:nvSpPr>
          <p:cNvPr id="10" name="Platshållare för text 4">
            <a:extLst>
              <a:ext uri="{FF2B5EF4-FFF2-40B4-BE49-F238E27FC236}">
                <a16:creationId xmlns:a16="http://schemas.microsoft.com/office/drawing/2014/main" id="{30B56924-FB7A-46A6-B6EF-1EC9BA35B37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27283" y="457200"/>
            <a:ext cx="4119514" cy="523875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 algn="ctr">
              <a:buNone/>
              <a:defRPr lang="en-GB" sz="1400" cap="all" baseline="0" dirty="0">
                <a:solidFill>
                  <a:schemeClr val="bg1"/>
                </a:solidFill>
              </a:defRPr>
            </a:lvl1pPr>
          </a:lstStyle>
          <a:p>
            <a:pPr marL="271463" lvl="0" indent="-271463"/>
            <a:r>
              <a:rPr lang="sv-SE"/>
              <a:t>Datum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303985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1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9/01/2023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695014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9/01/2023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857DEDD3-A814-4D6F-9E66-12FC02C37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237634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9/01/2023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6B0B13C-2727-4B02-8983-8C9B30C67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992395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- textboxar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6"/>
            <a:ext cx="2944660" cy="1202866"/>
          </a:xfrm>
          <a:solidFill>
            <a:schemeClr val="accent1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38600" y="1825626"/>
            <a:ext cx="7315200" cy="1189997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9/01/2023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857DEDD3-A814-4D6F-9E66-12FC02C37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8" name="Platshållare för innehåll 2">
            <a:extLst>
              <a:ext uri="{FF2B5EF4-FFF2-40B4-BE49-F238E27FC236}">
                <a16:creationId xmlns:a16="http://schemas.microsoft.com/office/drawing/2014/main" id="{63DCFB90-2099-4E45-A3FF-36433E1862B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38200" y="3199780"/>
            <a:ext cx="2944660" cy="1202866"/>
          </a:xfrm>
          <a:solidFill>
            <a:schemeClr val="accent1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9" name="Platshållare för innehåll 3">
            <a:extLst>
              <a:ext uri="{FF2B5EF4-FFF2-40B4-BE49-F238E27FC236}">
                <a16:creationId xmlns:a16="http://schemas.microsoft.com/office/drawing/2014/main" id="{BFB4AC46-A5E0-4B65-ADA2-84709A1936A5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038600" y="3199780"/>
            <a:ext cx="7315200" cy="1237306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10" name="Platshållare för innehåll 2">
            <a:extLst>
              <a:ext uri="{FF2B5EF4-FFF2-40B4-BE49-F238E27FC236}">
                <a16:creationId xmlns:a16="http://schemas.microsoft.com/office/drawing/2014/main" id="{0484F44F-6965-44F8-BDD5-1D42F5166A8A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38200" y="4573935"/>
            <a:ext cx="2944660" cy="1202866"/>
          </a:xfrm>
          <a:solidFill>
            <a:schemeClr val="accent1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1" name="Platshållare för innehåll 3">
            <a:extLst>
              <a:ext uri="{FF2B5EF4-FFF2-40B4-BE49-F238E27FC236}">
                <a16:creationId xmlns:a16="http://schemas.microsoft.com/office/drawing/2014/main" id="{8600C9DA-D5E7-4933-B9D6-4F5696F13370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038600" y="4573935"/>
            <a:ext cx="7315200" cy="1237306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</p:spTree>
    <p:extLst>
      <p:ext uri="{BB962C8B-B14F-4D97-AF65-F5344CB8AC3E}">
        <p14:creationId xmlns:p14="http://schemas.microsoft.com/office/powerpoint/2010/main" val="277218574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9/01/2023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39689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Rubrik och innehåll 3">
    <p:bg>
      <p:bgPr>
        <a:solidFill>
          <a:srgbClr val="9D9C9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9/01/2023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8B3DE43E-CD15-4F72-92CB-15F9868575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34161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5587154-BD2A-4F12-8229-6CAEFE6895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3499" y="1768476"/>
            <a:ext cx="9486901" cy="2753620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</a:t>
            </a:r>
            <a:br>
              <a:rPr lang="sv-SE"/>
            </a:br>
            <a:r>
              <a:rPr lang="sv-SE"/>
              <a:t>mall för rubrikformat</a:t>
            </a:r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5A8275A8-C307-4AD1-8F7E-DA508226EA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104910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höger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49350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4DAF063B-7068-450F-B5C5-EFF538607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9" y="2004565"/>
            <a:ext cx="5256213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84676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5587154-BD2A-4F12-8229-6CAEFE6895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3499" y="1768476"/>
            <a:ext cx="9486901" cy="2753620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</a:t>
            </a:r>
            <a:br>
              <a:rPr lang="sv-SE"/>
            </a:br>
            <a:r>
              <a:rPr lang="sv-SE"/>
              <a:t>mall för rubrikformat</a:t>
            </a:r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5A8275A8-C307-4AD1-8F7E-DA508226EA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615085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vänster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62ABE50D-60DA-4704-89D7-730FD6C5F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5600" y="2004565"/>
            <a:ext cx="4470401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765805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rubrik och tex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62ABE50D-60DA-4704-89D7-730FD6C5F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8843" y="1126379"/>
            <a:ext cx="4470401" cy="2169082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7" name="Platshållare för text 3">
            <a:extLst>
              <a:ext uri="{FF2B5EF4-FFF2-40B4-BE49-F238E27FC236}">
                <a16:creationId xmlns:a16="http://schemas.microsoft.com/office/drawing/2014/main" id="{41C8E73C-019E-4FB7-946D-69FAB814CF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98843" y="3381376"/>
            <a:ext cx="4470401" cy="235024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21328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 och tex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id="{5A8275A8-C307-4AD1-8F7E-DA508226EA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5" name="Platshållare för text 3">
            <a:extLst>
              <a:ext uri="{FF2B5EF4-FFF2-40B4-BE49-F238E27FC236}">
                <a16:creationId xmlns:a16="http://schemas.microsoft.com/office/drawing/2014/main" id="{43AAF0FB-5C31-4B7A-B3F0-735ECFED130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14737" y="2959894"/>
            <a:ext cx="4962525" cy="306863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6" name="Rubrik 1">
            <a:extLst>
              <a:ext uri="{FF2B5EF4-FFF2-40B4-BE49-F238E27FC236}">
                <a16:creationId xmlns:a16="http://schemas.microsoft.com/office/drawing/2014/main" id="{14F623A5-22C3-402C-9416-7106F11094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40046" y="977107"/>
            <a:ext cx="8111905" cy="1957387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</a:t>
            </a:r>
            <a:br>
              <a:rPr lang="sv-SE"/>
            </a:br>
            <a:r>
              <a:rPr lang="sv-SE"/>
              <a:t>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386144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vatten, båt, scen, flod&#10;&#10;Automatiskt genererad beskrivning">
            <a:extLst>
              <a:ext uri="{FF2B5EF4-FFF2-40B4-BE49-F238E27FC236}">
                <a16:creationId xmlns:a16="http://schemas.microsoft.com/office/drawing/2014/main" id="{A3FB76D2-1C0D-4488-878D-4FAB146CF7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59" b="854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323D7106-5A4E-4A15-A441-8E5B070144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7413" y="660400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/>
              <a:t>Namn </a:t>
            </a:r>
            <a:r>
              <a:rPr lang="sv-SE" err="1"/>
              <a:t>Namnesson</a:t>
            </a:r>
            <a:br>
              <a:rPr lang="sv-SE"/>
            </a:br>
            <a:r>
              <a:rPr lang="sv-SE"/>
              <a:t>Titel</a:t>
            </a:r>
          </a:p>
          <a:p>
            <a:pPr lvl="0"/>
            <a:r>
              <a:rPr lang="sv-SE"/>
              <a:t>Datu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BDBF191B-6AEB-4CCA-B141-5EF4F9F7AA8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Rubrik 1">
            <a:extLst>
              <a:ext uri="{FF2B5EF4-FFF2-40B4-BE49-F238E27FC236}">
                <a16:creationId xmlns:a16="http://schemas.microsoft.com/office/drawing/2014/main" id="{B3F6FD54-C892-4BA4-BE9D-ED4B94D9E3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2426509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556038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 descr="En bild som visar himmel, utomhus, flera&#10;&#10;Automatiskt genererad beskrivning">
            <a:extLst>
              <a:ext uri="{FF2B5EF4-FFF2-40B4-BE49-F238E27FC236}">
                <a16:creationId xmlns:a16="http://schemas.microsoft.com/office/drawing/2014/main" id="{AB68B31A-1E54-4F66-A3F8-68DCC3EA208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6" y="0"/>
            <a:ext cx="12190588" cy="6858000"/>
          </a:xfrm>
          <a:prstGeom prst="rect">
            <a:avLst/>
          </a:prstGeom>
        </p:spPr>
      </p:pic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323D7106-5A4E-4A15-A441-8E5B070144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473514" y="551915"/>
            <a:ext cx="1846734" cy="1612020"/>
          </a:xfrm>
          <a:prstGeom prst="hexagon">
            <a:avLst/>
          </a:prstGeom>
          <a:solidFill>
            <a:schemeClr val="accent5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/>
              <a:t>Namn </a:t>
            </a:r>
            <a:r>
              <a:rPr lang="sv-SE" err="1"/>
              <a:t>Namnsson</a:t>
            </a:r>
            <a:br>
              <a:rPr lang="sv-SE"/>
            </a:br>
            <a:r>
              <a:rPr lang="sv-SE"/>
              <a:t>Titel</a:t>
            </a:r>
          </a:p>
          <a:p>
            <a:pPr lvl="0"/>
            <a:r>
              <a:rPr lang="sv-SE"/>
              <a:t>Datu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BDBF191B-6AEB-4CCA-B141-5EF4F9F7AA8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Rubrik 1">
            <a:extLst>
              <a:ext uri="{FF2B5EF4-FFF2-40B4-BE49-F238E27FC236}">
                <a16:creationId xmlns:a16="http://schemas.microsoft.com/office/drawing/2014/main" id="{B3F6FD54-C892-4BA4-BE9D-ED4B94D9E3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1938311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593281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>
            <a:extLst>
              <a:ext uri="{FF2B5EF4-FFF2-40B4-BE49-F238E27FC236}">
                <a16:creationId xmlns:a16="http://schemas.microsoft.com/office/drawing/2014/main" id="{FBA023CF-467C-4D38-BFA6-84375E92AF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4415" r="-14415"/>
          <a:stretch/>
        </p:blipFill>
        <p:spPr>
          <a:xfrm flipH="1">
            <a:off x="254000" y="0"/>
            <a:ext cx="11938000" cy="6858000"/>
          </a:xfrm>
          <a:prstGeom prst="rect">
            <a:avLst/>
          </a:prstGeom>
        </p:spPr>
      </p:pic>
      <p:sp>
        <p:nvSpPr>
          <p:cNvPr id="6" name="Pil: femhörning 5">
            <a:extLst>
              <a:ext uri="{FF2B5EF4-FFF2-40B4-BE49-F238E27FC236}">
                <a16:creationId xmlns:a16="http://schemas.microsoft.com/office/drawing/2014/main" id="{30A31DD0-4413-4150-BA2D-DA1A071C1EEF}"/>
              </a:ext>
            </a:extLst>
          </p:cNvPr>
          <p:cNvSpPr/>
          <p:nvPr userDrawn="1"/>
        </p:nvSpPr>
        <p:spPr>
          <a:xfrm>
            <a:off x="0" y="0"/>
            <a:ext cx="7943850" cy="6858000"/>
          </a:xfrm>
          <a:prstGeom prst="homePlate">
            <a:avLst>
              <a:gd name="adj" fmla="val 25242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EC3377C-8C0F-4E16-A7CA-12BAB2F800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9100" y="2601119"/>
            <a:ext cx="5676900" cy="1655762"/>
          </a:xfrm>
        </p:spPr>
        <p:txBody>
          <a:bodyPr anchor="ctr">
            <a:normAutofit/>
          </a:bodyPr>
          <a:lstStyle>
            <a:lvl1pPr algn="l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1F17AFD7-57F0-4B61-8104-CD30595CF2E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9100" y="5467546"/>
            <a:ext cx="4572000" cy="933254"/>
          </a:xfrm>
        </p:spPr>
        <p:txBody>
          <a:bodyPr anchor="b">
            <a:normAutofit/>
          </a:bodyPr>
          <a:lstStyle>
            <a:lvl1pPr marL="0" indent="0" algn="l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Namn</a:t>
            </a:r>
          </a:p>
          <a:p>
            <a:r>
              <a:rPr lang="sv-SE"/>
              <a:t>Titel</a:t>
            </a:r>
            <a:endParaRPr lang="en-GB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DEC7EBC4-F612-4E85-A8EA-EE3EC15EBE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00930869-2014-4023-9C18-6824B8A4B9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457200"/>
            <a:ext cx="5180013" cy="523875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GB" sz="1600" cap="all" baseline="0" dirty="0">
                <a:solidFill>
                  <a:schemeClr val="bg1"/>
                </a:solidFill>
              </a:defRPr>
            </a:lvl1pPr>
          </a:lstStyle>
          <a:p>
            <a:pPr marL="285750" lvl="0" indent="-285750"/>
            <a:r>
              <a:rPr lang="sv-SE"/>
              <a:t>Datum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984676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objekt 12" descr="En bild som visar utomhus, byggnad, stad&#10;&#10;Automatiskt genererad beskrivning">
            <a:extLst>
              <a:ext uri="{FF2B5EF4-FFF2-40B4-BE49-F238E27FC236}">
                <a16:creationId xmlns:a16="http://schemas.microsoft.com/office/drawing/2014/main" id="{BE3F0BD8-A8DC-4282-8554-9C0889C89F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24" r="63727"/>
          <a:stretch/>
        </p:blipFill>
        <p:spPr>
          <a:xfrm>
            <a:off x="7876515" y="0"/>
            <a:ext cx="4315485" cy="6858000"/>
          </a:xfrm>
          <a:prstGeom prst="rect">
            <a:avLst/>
          </a:prstGeom>
        </p:spPr>
      </p:pic>
      <p:pic>
        <p:nvPicPr>
          <p:cNvPr id="3" name="Bildobjekt 2">
            <a:extLst>
              <a:ext uri="{FF2B5EF4-FFF2-40B4-BE49-F238E27FC236}">
                <a16:creationId xmlns:a16="http://schemas.microsoft.com/office/drawing/2014/main" id="{738DFB51-23EE-4FE2-9655-A0261880D8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4069" r="14149"/>
          <a:stretch/>
        </p:blipFill>
        <p:spPr>
          <a:xfrm>
            <a:off x="-92075" y="0"/>
            <a:ext cx="4987925" cy="6858000"/>
          </a:xfrm>
          <a:prstGeom prst="rect">
            <a:avLst/>
          </a:prstGeom>
        </p:spPr>
      </p:pic>
      <p:sp>
        <p:nvSpPr>
          <p:cNvPr id="7" name="Sexhörning 6">
            <a:extLst>
              <a:ext uri="{FF2B5EF4-FFF2-40B4-BE49-F238E27FC236}">
                <a16:creationId xmlns:a16="http://schemas.microsoft.com/office/drawing/2014/main" id="{9C81CB57-CC6D-4373-9E8C-26764891F91B}"/>
              </a:ext>
            </a:extLst>
          </p:cNvPr>
          <p:cNvSpPr/>
          <p:nvPr userDrawn="1"/>
        </p:nvSpPr>
        <p:spPr>
          <a:xfrm>
            <a:off x="1905000" y="0"/>
            <a:ext cx="7943850" cy="6858000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Underrubrik 2">
            <a:extLst>
              <a:ext uri="{FF2B5EF4-FFF2-40B4-BE49-F238E27FC236}">
                <a16:creationId xmlns:a16="http://schemas.microsoft.com/office/drawing/2014/main" id="{D5DF9CD7-B6B8-4C64-80AE-FC155A34F0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81822" y="5624446"/>
            <a:ext cx="2917203" cy="933254"/>
          </a:xfrm>
        </p:spPr>
        <p:txBody>
          <a:bodyPr anchor="b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ontakt: </a:t>
            </a:r>
            <a:br>
              <a:rPr lang="sv-SE"/>
            </a:br>
            <a:r>
              <a:rPr lang="sv-SE"/>
              <a:t>namn </a:t>
            </a:r>
            <a:br>
              <a:rPr lang="sv-SE"/>
            </a:br>
            <a:r>
              <a:rPr lang="sv-SE" err="1"/>
              <a:t>tel</a:t>
            </a:r>
            <a:r>
              <a:rPr lang="sv-SE"/>
              <a:t> och mailadress</a:t>
            </a:r>
            <a:endParaRPr lang="en-GB"/>
          </a:p>
        </p:txBody>
      </p:sp>
      <p:sp>
        <p:nvSpPr>
          <p:cNvPr id="10" name="Platshållare för text 4">
            <a:extLst>
              <a:ext uri="{FF2B5EF4-FFF2-40B4-BE49-F238E27FC236}">
                <a16:creationId xmlns:a16="http://schemas.microsoft.com/office/drawing/2014/main" id="{69FFDD3A-A88B-4AB3-A4FA-7FFFFB933EC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81822" y="457200"/>
            <a:ext cx="2917203" cy="523875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 algn="ctr">
              <a:buNone/>
              <a:defRPr lang="en-GB" sz="1600" cap="all" baseline="0" dirty="0">
                <a:solidFill>
                  <a:schemeClr val="bg1"/>
                </a:solidFill>
              </a:defRPr>
            </a:lvl1pPr>
          </a:lstStyle>
          <a:p>
            <a:pPr marL="271463" lvl="0" indent="-271463"/>
            <a:r>
              <a:rPr lang="sv-SE"/>
              <a:t>Datum</a:t>
            </a:r>
            <a:endParaRPr lang="en-GB"/>
          </a:p>
        </p:txBody>
      </p:sp>
      <p:sp>
        <p:nvSpPr>
          <p:cNvPr id="11" name="Rubrik 1">
            <a:extLst>
              <a:ext uri="{FF2B5EF4-FFF2-40B4-BE49-F238E27FC236}">
                <a16:creationId xmlns:a16="http://schemas.microsoft.com/office/drawing/2014/main" id="{0475505B-3E73-45DD-899D-C788753682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13098" y="2601119"/>
            <a:ext cx="5454650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732355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>
            <a:extLst>
              <a:ext uri="{FF2B5EF4-FFF2-40B4-BE49-F238E27FC236}">
                <a16:creationId xmlns:a16="http://schemas.microsoft.com/office/drawing/2014/main" id="{DEAE3C80-AB60-4336-8EF3-A47597D4B9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323D7106-5A4E-4A15-A441-8E5B070144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7413" y="660400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/>
              <a:t>Namn </a:t>
            </a:r>
            <a:r>
              <a:rPr lang="sv-SE" err="1"/>
              <a:t>Namnesson</a:t>
            </a:r>
            <a:br>
              <a:rPr lang="sv-SE"/>
            </a:br>
            <a:r>
              <a:rPr lang="sv-SE"/>
              <a:t>Titel</a:t>
            </a:r>
          </a:p>
          <a:p>
            <a:pPr lvl="0"/>
            <a:r>
              <a:rPr lang="sv-SE"/>
              <a:t>Datu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BDBF191B-6AEB-4CCA-B141-5EF4F9F7AA8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Rubrik 1">
            <a:extLst>
              <a:ext uri="{FF2B5EF4-FFF2-40B4-BE49-F238E27FC236}">
                <a16:creationId xmlns:a16="http://schemas.microsoft.com/office/drawing/2014/main" id="{B3F6FD54-C892-4BA4-BE9D-ED4B94D9E3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3171226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885642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ssida 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848955C-00EC-4B47-BC95-A26380F7B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5653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848955C-00EC-4B47-BC95-A26380F7B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objekt 9">
            <a:extLst>
              <a:ext uri="{FF2B5EF4-FFF2-40B4-BE49-F238E27FC236}">
                <a16:creationId xmlns:a16="http://schemas.microsoft.com/office/drawing/2014/main" id="{EDAC6DE7-C488-486A-870E-7B1A10059F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39578" r="17582"/>
          <a:stretch/>
        </p:blipFill>
        <p:spPr>
          <a:xfrm>
            <a:off x="-7617" y="0"/>
            <a:ext cx="5114303" cy="6858000"/>
          </a:xfrm>
          <a:prstGeom prst="rect">
            <a:avLst/>
          </a:prstGeom>
        </p:spPr>
      </p:pic>
      <p:pic>
        <p:nvPicPr>
          <p:cNvPr id="4" name="Bildobjekt 3">
            <a:extLst>
              <a:ext uri="{FF2B5EF4-FFF2-40B4-BE49-F238E27FC236}">
                <a16:creationId xmlns:a16="http://schemas.microsoft.com/office/drawing/2014/main" id="{A2FA2507-FD7A-476A-A8DE-07D12DA676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46995" r="16850"/>
          <a:stretch/>
        </p:blipFill>
        <p:spPr>
          <a:xfrm>
            <a:off x="7953375" y="0"/>
            <a:ext cx="4316167" cy="6858000"/>
          </a:xfrm>
          <a:prstGeom prst="rect">
            <a:avLst/>
          </a:prstGeom>
        </p:spPr>
      </p:pic>
      <p:sp>
        <p:nvSpPr>
          <p:cNvPr id="7" name="Sexhörning 6">
            <a:extLst>
              <a:ext uri="{FF2B5EF4-FFF2-40B4-BE49-F238E27FC236}">
                <a16:creationId xmlns:a16="http://schemas.microsoft.com/office/drawing/2014/main" id="{9C81CB57-CC6D-4373-9E8C-26764891F91B}"/>
              </a:ext>
            </a:extLst>
          </p:cNvPr>
          <p:cNvSpPr/>
          <p:nvPr userDrawn="1"/>
        </p:nvSpPr>
        <p:spPr>
          <a:xfrm>
            <a:off x="1905000" y="0"/>
            <a:ext cx="7943850" cy="6858000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7E16920A-42C5-4BBF-91CA-6A655E0FCEF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596254" y="2587750"/>
            <a:ext cx="2637666" cy="1701067"/>
          </a:xfrm>
          <a:prstGeom prst="rect">
            <a:avLst/>
          </a:prstGeom>
        </p:spPr>
      </p:pic>
      <p:sp>
        <p:nvSpPr>
          <p:cNvPr id="13" name="Platshållare för text 5">
            <a:extLst>
              <a:ext uri="{FF2B5EF4-FFF2-40B4-BE49-F238E27FC236}">
                <a16:creationId xmlns:a16="http://schemas.microsoft.com/office/drawing/2014/main" id="{FDA51B77-D4D1-421E-A001-AC87B8F2E0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626168" y="969255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Underrubrik 2">
            <a:extLst>
              <a:ext uri="{FF2B5EF4-FFF2-40B4-BE49-F238E27FC236}">
                <a16:creationId xmlns:a16="http://schemas.microsoft.com/office/drawing/2014/main" id="{D5DF9CD7-B6B8-4C64-80AE-FC155A34F0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81823" y="4696119"/>
            <a:ext cx="2917203" cy="933254"/>
          </a:xfrm>
        </p:spPr>
        <p:txBody>
          <a:bodyPr anchor="b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ontakt: </a:t>
            </a:r>
            <a:br>
              <a:rPr lang="sv-SE"/>
            </a:br>
            <a:r>
              <a:rPr lang="sv-SE"/>
              <a:t>namn </a:t>
            </a:r>
            <a:br>
              <a:rPr lang="sv-SE"/>
            </a:br>
            <a:r>
              <a:rPr lang="sv-SE" err="1"/>
              <a:t>tel</a:t>
            </a:r>
            <a:r>
              <a:rPr lang="sv-SE"/>
              <a:t> och mailadress</a:t>
            </a:r>
            <a:endParaRPr lang="en-GB"/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id="{AEDC73C1-CA14-4BAB-A605-17C623C8EF96}"/>
              </a:ext>
            </a:extLst>
          </p:cNvPr>
          <p:cNvSpPr txBox="1"/>
          <p:nvPr userDrawn="1"/>
        </p:nvSpPr>
        <p:spPr>
          <a:xfrm>
            <a:off x="3800475" y="6296718"/>
            <a:ext cx="41529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100" cap="all" baseline="0">
                <a:solidFill>
                  <a:schemeClr val="bg1"/>
                </a:solidFill>
              </a:rPr>
              <a:t>Business region göteborg – en del </a:t>
            </a:r>
            <a:br>
              <a:rPr lang="sv-SE" sz="1100" cap="all" baseline="0">
                <a:solidFill>
                  <a:schemeClr val="bg1"/>
                </a:solidFill>
              </a:rPr>
            </a:br>
            <a:r>
              <a:rPr lang="sv-SE" sz="1100" cap="all" baseline="0">
                <a:solidFill>
                  <a:schemeClr val="bg1"/>
                </a:solidFill>
              </a:rPr>
              <a:t>av göteborgs stad i samarbete med regionen</a:t>
            </a:r>
          </a:p>
        </p:txBody>
      </p:sp>
    </p:spTree>
    <p:extLst>
      <p:ext uri="{BB962C8B-B14F-4D97-AF65-F5344CB8AC3E}">
        <p14:creationId xmlns:p14="http://schemas.microsoft.com/office/powerpoint/2010/main" val="121767992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ssida ver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AAD3C03-F65A-414E-B38B-260E948FF5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8497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AAD3C03-F65A-414E-B38B-260E948FF5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Bildobjekt 3">
            <a:extLst>
              <a:ext uri="{FF2B5EF4-FFF2-40B4-BE49-F238E27FC236}">
                <a16:creationId xmlns:a16="http://schemas.microsoft.com/office/drawing/2014/main" id="{73964CDB-FAD0-4FDE-A2BA-7488AA830DC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596254" y="2587750"/>
            <a:ext cx="2637666" cy="1701067"/>
          </a:xfrm>
          <a:prstGeom prst="rect">
            <a:avLst/>
          </a:prstGeom>
        </p:spPr>
      </p:pic>
      <p:sp>
        <p:nvSpPr>
          <p:cNvPr id="7" name="Underrubrik 2">
            <a:extLst>
              <a:ext uri="{FF2B5EF4-FFF2-40B4-BE49-F238E27FC236}">
                <a16:creationId xmlns:a16="http://schemas.microsoft.com/office/drawing/2014/main" id="{C975FBF4-9F29-4BAB-99E2-DADE0991EB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9788" y="370769"/>
            <a:ext cx="4572000" cy="933254"/>
          </a:xfrm>
        </p:spPr>
        <p:txBody>
          <a:bodyPr anchor="b">
            <a:normAutofit/>
          </a:bodyPr>
          <a:lstStyle>
            <a:lvl1pPr marL="0" indent="0" algn="l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ontakt: </a:t>
            </a:r>
            <a:br>
              <a:rPr lang="sv-SE"/>
            </a:br>
            <a:r>
              <a:rPr lang="sv-SE"/>
              <a:t>namn</a:t>
            </a:r>
            <a:br>
              <a:rPr lang="sv-SE"/>
            </a:br>
            <a:r>
              <a:rPr lang="sv-SE" err="1"/>
              <a:t>tel</a:t>
            </a:r>
            <a:r>
              <a:rPr lang="sv-SE"/>
              <a:t> och mailadress</a:t>
            </a:r>
            <a:endParaRPr lang="en-GB"/>
          </a:p>
        </p:txBody>
      </p:sp>
      <p:sp>
        <p:nvSpPr>
          <p:cNvPr id="8" name="Platshållare för text 5">
            <a:extLst>
              <a:ext uri="{FF2B5EF4-FFF2-40B4-BE49-F238E27FC236}">
                <a16:creationId xmlns:a16="http://schemas.microsoft.com/office/drawing/2014/main" id="{DBEB03BB-830E-4148-A326-8D0E43DE23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752073" y="497915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/>
              <a:t>Tryck här om du vill lägga till text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B0659B0D-FBB5-4D2A-AE50-4EB88F0DC37D}"/>
              </a:ext>
            </a:extLst>
          </p:cNvPr>
          <p:cNvSpPr txBox="1"/>
          <p:nvPr userDrawn="1"/>
        </p:nvSpPr>
        <p:spPr>
          <a:xfrm>
            <a:off x="839788" y="6405095"/>
            <a:ext cx="105124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200" cap="all" baseline="0">
                <a:solidFill>
                  <a:schemeClr val="bg1"/>
                </a:solidFill>
              </a:rPr>
              <a:t>Business region göteborg – en del av göteborgs stad i samarbete med regionen</a:t>
            </a:r>
          </a:p>
        </p:txBody>
      </p:sp>
    </p:spTree>
    <p:extLst>
      <p:ext uri="{BB962C8B-B14F-4D97-AF65-F5344CB8AC3E}">
        <p14:creationId xmlns:p14="http://schemas.microsoft.com/office/powerpoint/2010/main" val="18077989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höger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49350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4DAF063B-7068-450F-B5C5-EFF538607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9" y="2004565"/>
            <a:ext cx="5256213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7817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vänster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62ABE50D-60DA-4704-89D7-730FD6C5F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5600" y="2004565"/>
            <a:ext cx="4470401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33496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51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5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57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18" Type="http://schemas.openxmlformats.org/officeDocument/2006/relationships/slideLayout" Target="../slideLayouts/slideLayout78.xml"/><Relationship Id="rId3" Type="http://schemas.openxmlformats.org/officeDocument/2006/relationships/slideLayout" Target="../slideLayouts/slideLayout6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0" Type="http://schemas.openxmlformats.org/officeDocument/2006/relationships/theme" Target="../theme/theme7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24" Type="http://schemas.openxmlformats.org/officeDocument/2006/relationships/image" Target="../media/image13.emf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23" Type="http://schemas.openxmlformats.org/officeDocument/2006/relationships/oleObject" Target="../embeddings/oleObject3.bin"/><Relationship Id="rId10" Type="http://schemas.openxmlformats.org/officeDocument/2006/relationships/slideLayout" Target="../slideLayouts/slideLayout70.xml"/><Relationship Id="rId19" Type="http://schemas.openxmlformats.org/officeDocument/2006/relationships/slideLayout" Target="../slideLayouts/slideLayout79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Relationship Id="rId22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8">
            <a:extLst>
              <a:ext uri="{FF2B5EF4-FFF2-40B4-BE49-F238E27FC236}">
                <a16:creationId xmlns:a16="http://schemas.microsoft.com/office/drawing/2014/main" id="{F488DB39-C14A-4AB7-AF50-C4F030BB96BF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1028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29/01/2023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1626" y="6356350"/>
            <a:ext cx="13192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7355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4" r:id="rId4"/>
    <p:sldLayoutId id="2147483661" r:id="rId5"/>
    <p:sldLayoutId id="2147483733" r:id="rId6"/>
    <p:sldLayoutId id="2147483651" r:id="rId7"/>
    <p:sldLayoutId id="2147483698" r:id="rId8"/>
    <p:sldLayoutId id="2147483707" r:id="rId9"/>
    <p:sldLayoutId id="2147483711" r:id="rId10"/>
    <p:sldLayoutId id="2147483699" r:id="rId11"/>
    <p:sldLayoutId id="2147483658" r:id="rId12"/>
    <p:sldLayoutId id="2147483657" r:id="rId13"/>
    <p:sldLayoutId id="2147483656" r:id="rId14"/>
    <p:sldLayoutId id="2147483750" r:id="rId15"/>
    <p:sldLayoutId id="2147483749" r:id="rId16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 userDrawn="1">
          <p15:clr>
            <a:srgbClr val="F26B43"/>
          </p15:clr>
        </p15:guide>
        <p15:guide id="2" pos="529" userDrawn="1">
          <p15:clr>
            <a:srgbClr val="F26B43"/>
          </p15:clr>
        </p15:guide>
        <p15:guide id="3" pos="7151" userDrawn="1">
          <p15:clr>
            <a:srgbClr val="F26B43"/>
          </p15:clr>
        </p15:guide>
        <p15:guide id="4" orient="horz" pos="1139" userDrawn="1">
          <p15:clr>
            <a:srgbClr val="F26B43"/>
          </p15:clr>
        </p15:guide>
        <p15:guide id="5" orient="horz" pos="365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5ED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29/01/2023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3C5BF98D-74DA-45EB-8556-36CEC6EE7E32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6886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7" r:id="rId3"/>
    <p:sldLayoutId id="2147483669" r:id="rId4"/>
    <p:sldLayoutId id="2147483734" r:id="rId5"/>
    <p:sldLayoutId id="2147483680" r:id="rId6"/>
    <p:sldLayoutId id="2147483704" r:id="rId7"/>
    <p:sldLayoutId id="2147483708" r:id="rId8"/>
    <p:sldLayoutId id="2147483712" r:id="rId9"/>
    <p:sldLayoutId id="2147483700" r:id="rId10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rgbClr val="3A5776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657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9E7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29/01/2023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F6234A4E-2E63-428D-8582-E187BE2192E6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110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5" r:id="rId3"/>
    <p:sldLayoutId id="2147483687" r:id="rId4"/>
    <p:sldLayoutId id="2147483735" r:id="rId5"/>
    <p:sldLayoutId id="2147483688" r:id="rId6"/>
    <p:sldLayoutId id="2147483705" r:id="rId7"/>
    <p:sldLayoutId id="2147483709" r:id="rId8"/>
    <p:sldLayoutId id="2147483713" r:id="rId9"/>
    <p:sldLayoutId id="2147483701" r:id="rId10"/>
    <p:sldLayoutId id="2147483756" r:id="rId11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rgbClr val="36646B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657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7E4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29/01/2023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2" y="6356350"/>
            <a:ext cx="19002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57A6DA15-5310-45AE-9C3A-6144A4E88348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681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3" r:id="rId3"/>
    <p:sldLayoutId id="2147483695" r:id="rId4"/>
    <p:sldLayoutId id="2147483736" r:id="rId5"/>
    <p:sldLayoutId id="2147483696" r:id="rId6"/>
    <p:sldLayoutId id="2147483706" r:id="rId7"/>
    <p:sldLayoutId id="2147483710" r:id="rId8"/>
    <p:sldLayoutId id="2147483714" r:id="rId9"/>
    <p:sldLayoutId id="2147483702" r:id="rId10"/>
    <p:sldLayoutId id="2147483755" r:id="rId11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657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29/01/2023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CD02E4AD-1E16-46A9-AEF5-671B55EA89D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6394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51" r:id="rId5"/>
    <p:sldLayoutId id="2147483752" r:id="rId6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657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0513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29/01/2023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25CC76DD-CCDD-4DDF-BA02-83CDDFB9D5B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099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2" r:id="rId3"/>
    <p:sldLayoutId id="2147483747" r:id="rId4"/>
    <p:sldLayoutId id="2147483743" r:id="rId5"/>
    <p:sldLayoutId id="2147483748" r:id="rId6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702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1262A14-C18A-43AD-8174-EA6D5AC8AE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6055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98" imgH="499" progId="TCLayout.ActiveDocument.1">
                  <p:embed/>
                </p:oleObj>
              </mc:Choice>
              <mc:Fallback>
                <p:oleObj name="think-cell Slide" r:id="rId23" imgW="498" imgH="49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1262A14-C18A-43AD-8174-EA6D5AC8AE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19D2BCF4-8713-4980-86F1-4C71D0C542E6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F488DB39-C14A-4AB7-AF50-C4F030BB96BF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1028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29/01/2023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1626" y="6356350"/>
            <a:ext cx="13192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6521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  <p:sldLayoutId id="2147483772" r:id="rId12"/>
    <p:sldLayoutId id="2147483773" r:id="rId13"/>
    <p:sldLayoutId id="2147483774" r:id="rId14"/>
    <p:sldLayoutId id="2147483775" r:id="rId15"/>
    <p:sldLayoutId id="2147483776" r:id="rId16"/>
    <p:sldLayoutId id="2147483777" r:id="rId17"/>
    <p:sldLayoutId id="2147483778" r:id="rId18"/>
    <p:sldLayoutId id="2147483779" r:id="rId19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65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package" Target="../embeddings/Microsoft_Excel_Worksheet.xlsx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BA07D8F-4D2F-4E9A-A791-F681F0CF7BE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sv-SE"/>
              <a:t>Framdrift näringslivsstrategiska programmet</a:t>
            </a:r>
            <a:br>
              <a:rPr lang="sv-SE"/>
            </a:br>
            <a:r>
              <a:rPr lang="sv-SE"/>
              <a:t>- Utfall HP 2</a:t>
            </a:r>
            <a:br>
              <a:rPr lang="sv-SE"/>
            </a:br>
            <a:r>
              <a:rPr lang="sv-SE"/>
              <a:t>- Inspel HP 3- process samt avgränsningar</a:t>
            </a:r>
          </a:p>
        </p:txBody>
      </p:sp>
      <p:sp>
        <p:nvSpPr>
          <p:cNvPr id="6" name="Underrubrik 5">
            <a:extLst>
              <a:ext uri="{FF2B5EF4-FFF2-40B4-BE49-F238E27FC236}">
                <a16:creationId xmlns:a16="http://schemas.microsoft.com/office/drawing/2014/main" id="{33BA5C5C-76FB-3A1C-675A-C8CB180BAA6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/>
              <a:t>Pia Areblad</a:t>
            </a:r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81A7EEF3-D793-1D8F-FAD4-47A130BA6D2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sv-SE"/>
              <a:t>230206</a:t>
            </a:r>
          </a:p>
        </p:txBody>
      </p:sp>
    </p:spTree>
    <p:extLst>
      <p:ext uri="{BB962C8B-B14F-4D97-AF65-F5344CB8AC3E}">
        <p14:creationId xmlns:p14="http://schemas.microsoft.com/office/powerpoint/2010/main" val="42763252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>
            <a:extLst>
              <a:ext uri="{FF2B5EF4-FFF2-40B4-BE49-F238E27FC236}">
                <a16:creationId xmlns:a16="http://schemas.microsoft.com/office/drawing/2014/main" id="{DF5521DE-25CE-D6C0-1C79-AE684C80E5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Status/utfall handlingsplan 2 (2022-23)</a:t>
            </a:r>
          </a:p>
        </p:txBody>
      </p:sp>
      <p:sp>
        <p:nvSpPr>
          <p:cNvPr id="7" name="Platshållare för innehåll 6">
            <a:extLst>
              <a:ext uri="{FF2B5EF4-FFF2-40B4-BE49-F238E27FC236}">
                <a16:creationId xmlns:a16="http://schemas.microsoft.com/office/drawing/2014/main" id="{C5D5551D-C3D0-97DE-A03E-2BA488909A90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lvl="4"/>
            <a:r>
              <a:rPr lang="sv-SE" b="1"/>
              <a:t>Röda- </a:t>
            </a:r>
            <a:br>
              <a:rPr lang="sv-SE"/>
            </a:br>
            <a:r>
              <a:rPr lang="sv-SE"/>
              <a:t>- Praoplatser</a:t>
            </a:r>
            <a:br>
              <a:rPr lang="sv-SE"/>
            </a:br>
            <a:r>
              <a:rPr lang="sv-SE"/>
              <a:t>- Företagsportal/tillståndsguide</a:t>
            </a:r>
          </a:p>
        </p:txBody>
      </p:sp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E531CF7A-1694-6BA2-18FD-59FEFCC97A0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23394875"/>
              </p:ext>
            </p:extLst>
          </p:nvPr>
        </p:nvGraphicFramePr>
        <p:xfrm>
          <a:off x="820861" y="1791288"/>
          <a:ext cx="6588607" cy="39798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2" imgW="3032573" imgH="1364119" progId="Excel.Sheet.12">
                  <p:embed/>
                </p:oleObj>
              </mc:Choice>
              <mc:Fallback>
                <p:oleObj name="Worksheet" r:id="rId2" imgW="3032573" imgH="1364119" progId="Excel.Sheet.12">
                  <p:embed/>
                  <p:pic>
                    <p:nvPicPr>
                      <p:cNvPr id="9" name="Objekt 8">
                        <a:extLst>
                          <a:ext uri="{FF2B5EF4-FFF2-40B4-BE49-F238E27FC236}">
                            <a16:creationId xmlns:a16="http://schemas.microsoft.com/office/drawing/2014/main" id="{E531CF7A-1694-6BA2-18FD-59FEFCC97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820861" y="1791288"/>
                        <a:ext cx="6588607" cy="39798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55162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>
            <a:extLst>
              <a:ext uri="{FF2B5EF4-FFF2-40B4-BE49-F238E27FC236}">
                <a16:creationId xmlns:a16="http://schemas.microsoft.com/office/drawing/2014/main" id="{C7A45C7F-984C-035A-6D92-C9E2D6EBF0A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/>
              <a:t>Inspel HP 3- process samt avgränsningar</a:t>
            </a:r>
          </a:p>
        </p:txBody>
      </p:sp>
      <p:sp>
        <p:nvSpPr>
          <p:cNvPr id="5" name="Underrubrik 4">
            <a:extLst>
              <a:ext uri="{FF2B5EF4-FFF2-40B4-BE49-F238E27FC236}">
                <a16:creationId xmlns:a16="http://schemas.microsoft.com/office/drawing/2014/main" id="{27E388BF-8BD3-5AE4-F7BB-105DD6D1B36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998691EF-EE5C-74DC-CCB5-7349EBE86DA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71438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2" name="Rak koppling 71">
            <a:extLst>
              <a:ext uri="{FF2B5EF4-FFF2-40B4-BE49-F238E27FC236}">
                <a16:creationId xmlns:a16="http://schemas.microsoft.com/office/drawing/2014/main" id="{89403069-BF97-4FF3-A985-A4271EB67CD8}"/>
              </a:ext>
            </a:extLst>
          </p:cNvPr>
          <p:cNvCxnSpPr>
            <a:cxnSpLocks/>
            <a:stCxn id="71" idx="2"/>
          </p:cNvCxnSpPr>
          <p:nvPr/>
        </p:nvCxnSpPr>
        <p:spPr>
          <a:xfrm flipH="1">
            <a:off x="2807813" y="2630711"/>
            <a:ext cx="10532" cy="1382648"/>
          </a:xfrm>
          <a:prstGeom prst="line">
            <a:avLst/>
          </a:prstGeom>
          <a:ln>
            <a:solidFill>
              <a:srgbClr val="D3624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sv-SE"/>
            </a:br>
            <a:r>
              <a:rPr lang="sv-SE"/>
              <a:t>HP 3 – (2024-25)</a:t>
            </a:r>
            <a:br>
              <a:rPr lang="sv-SE"/>
            </a:br>
            <a:r>
              <a:rPr lang="sv-SE"/>
              <a:t>föreslagen process 2023</a:t>
            </a:r>
          </a:p>
        </p:txBody>
      </p:sp>
      <p:sp>
        <p:nvSpPr>
          <p:cNvPr id="62" name="Bildtext 1 61"/>
          <p:cNvSpPr/>
          <p:nvPr/>
        </p:nvSpPr>
        <p:spPr>
          <a:xfrm>
            <a:off x="3237935" y="4004175"/>
            <a:ext cx="534996" cy="839673"/>
          </a:xfrm>
          <a:prstGeom prst="borderCallout1">
            <a:avLst>
              <a:gd name="adj1" fmla="val -3978"/>
              <a:gd name="adj2" fmla="val 64591"/>
              <a:gd name="adj3" fmla="val -226225"/>
              <a:gd name="adj4" fmla="val 62435"/>
            </a:avLst>
          </a:prstGeom>
          <a:solidFill>
            <a:srgbClr val="D36248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S,</a:t>
            </a:r>
            <a:br>
              <a:rPr kumimoji="0" lang="sv-SE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sv-SE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idering</a:t>
            </a:r>
          </a:p>
        </p:txBody>
      </p:sp>
      <p:sp>
        <p:nvSpPr>
          <p:cNvPr id="117" name="textruta 116"/>
          <p:cNvSpPr txBox="1"/>
          <p:nvPr/>
        </p:nvSpPr>
        <p:spPr>
          <a:xfrm>
            <a:off x="220100" y="2762343"/>
            <a:ext cx="19028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0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65" name="Grupp 64"/>
          <p:cNvGrpSpPr/>
          <p:nvPr/>
        </p:nvGrpSpPr>
        <p:grpSpPr>
          <a:xfrm>
            <a:off x="5510142" y="3074828"/>
            <a:ext cx="3276369" cy="702904"/>
            <a:chOff x="3722248" y="2357271"/>
            <a:chExt cx="1881392" cy="702904"/>
          </a:xfrm>
        </p:grpSpPr>
        <p:sp>
          <p:nvSpPr>
            <p:cNvPr id="114" name="Högerpil 113"/>
            <p:cNvSpPr/>
            <p:nvPr/>
          </p:nvSpPr>
          <p:spPr>
            <a:xfrm>
              <a:off x="3722249" y="2357271"/>
              <a:ext cx="1881391" cy="702904"/>
            </a:xfrm>
            <a:prstGeom prst="rightArrow">
              <a:avLst/>
            </a:prstGeom>
            <a:solidFill>
              <a:srgbClr val="EEC7B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" name="textruta 114"/>
            <p:cNvSpPr txBox="1"/>
            <p:nvPr/>
          </p:nvSpPr>
          <p:spPr>
            <a:xfrm>
              <a:off x="3722248" y="2530344"/>
              <a:ext cx="188139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00" b="1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Framtagande handlingsplan (arbetsgrupper)</a:t>
              </a:r>
            </a:p>
          </p:txBody>
        </p:sp>
      </p:grpSp>
      <p:sp>
        <p:nvSpPr>
          <p:cNvPr id="96" name="Bildtext 1 95"/>
          <p:cNvSpPr/>
          <p:nvPr/>
        </p:nvSpPr>
        <p:spPr>
          <a:xfrm>
            <a:off x="3797654" y="4004176"/>
            <a:ext cx="534997" cy="839672"/>
          </a:xfrm>
          <a:prstGeom prst="borderCallout1">
            <a:avLst>
              <a:gd name="adj1" fmla="val -3978"/>
              <a:gd name="adj2" fmla="val 49008"/>
              <a:gd name="adj3" fmla="val -213270"/>
              <a:gd name="adj4" fmla="val 63482"/>
            </a:avLst>
          </a:prstGeom>
          <a:solidFill>
            <a:srgbClr val="D36248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F,</a:t>
            </a:r>
            <a:br>
              <a:rPr kumimoji="0" lang="sv-SE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sv-SE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idering</a:t>
            </a:r>
          </a:p>
        </p:txBody>
      </p:sp>
      <p:sp>
        <p:nvSpPr>
          <p:cNvPr id="121" name="Romb 120"/>
          <p:cNvSpPr/>
          <p:nvPr/>
        </p:nvSpPr>
        <p:spPr>
          <a:xfrm>
            <a:off x="3395350" y="2322598"/>
            <a:ext cx="275459" cy="308113"/>
          </a:xfrm>
          <a:prstGeom prst="diamond">
            <a:avLst/>
          </a:prstGeom>
          <a:solidFill>
            <a:srgbClr val="D3624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22" name="Rak koppling 121"/>
          <p:cNvCxnSpPr>
            <a:cxnSpLocks/>
            <a:stCxn id="121" idx="2"/>
            <a:endCxn id="62" idx="3"/>
          </p:cNvCxnSpPr>
          <p:nvPr/>
        </p:nvCxnSpPr>
        <p:spPr>
          <a:xfrm flipH="1">
            <a:off x="3505433" y="2630711"/>
            <a:ext cx="27647" cy="1373464"/>
          </a:xfrm>
          <a:prstGeom prst="line">
            <a:avLst/>
          </a:prstGeom>
          <a:ln>
            <a:solidFill>
              <a:srgbClr val="D3624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omb 122"/>
          <p:cNvSpPr/>
          <p:nvPr/>
        </p:nvSpPr>
        <p:spPr>
          <a:xfrm>
            <a:off x="3932552" y="2322598"/>
            <a:ext cx="275459" cy="308113"/>
          </a:xfrm>
          <a:prstGeom prst="diamond">
            <a:avLst/>
          </a:prstGeom>
          <a:solidFill>
            <a:srgbClr val="D3624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24" name="Rak koppling 123"/>
          <p:cNvCxnSpPr>
            <a:cxnSpLocks/>
            <a:stCxn id="123" idx="2"/>
          </p:cNvCxnSpPr>
          <p:nvPr/>
        </p:nvCxnSpPr>
        <p:spPr>
          <a:xfrm>
            <a:off x="4070282" y="2630711"/>
            <a:ext cx="11347" cy="1373465"/>
          </a:xfrm>
          <a:prstGeom prst="line">
            <a:avLst/>
          </a:prstGeom>
          <a:ln>
            <a:solidFill>
              <a:srgbClr val="D3624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Tabell 5">
            <a:extLst>
              <a:ext uri="{FF2B5EF4-FFF2-40B4-BE49-F238E27FC236}">
                <a16:creationId xmlns:a16="http://schemas.microsoft.com/office/drawing/2014/main" id="{0C6F52CE-A60E-48C9-81CC-F897B06D9C96}"/>
              </a:ext>
            </a:extLst>
          </p:cNvPr>
          <p:cNvGraphicFramePr>
            <a:graphicFrameLocks noGrp="1"/>
          </p:cNvGraphicFramePr>
          <p:nvPr/>
        </p:nvGraphicFramePr>
        <p:xfrm>
          <a:off x="205762" y="1969627"/>
          <a:ext cx="1178047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5365">
                  <a:extLst>
                    <a:ext uri="{9D8B030D-6E8A-4147-A177-3AD203B41FA5}">
                      <a16:colId xmlns:a16="http://schemas.microsoft.com/office/drawing/2014/main" val="180157188"/>
                    </a:ext>
                  </a:extLst>
                </a:gridCol>
                <a:gridCol w="785365">
                  <a:extLst>
                    <a:ext uri="{9D8B030D-6E8A-4147-A177-3AD203B41FA5}">
                      <a16:colId xmlns:a16="http://schemas.microsoft.com/office/drawing/2014/main" val="3908836882"/>
                    </a:ext>
                  </a:extLst>
                </a:gridCol>
                <a:gridCol w="785365">
                  <a:extLst>
                    <a:ext uri="{9D8B030D-6E8A-4147-A177-3AD203B41FA5}">
                      <a16:colId xmlns:a16="http://schemas.microsoft.com/office/drawing/2014/main" val="1045286706"/>
                    </a:ext>
                  </a:extLst>
                </a:gridCol>
                <a:gridCol w="785365">
                  <a:extLst>
                    <a:ext uri="{9D8B030D-6E8A-4147-A177-3AD203B41FA5}">
                      <a16:colId xmlns:a16="http://schemas.microsoft.com/office/drawing/2014/main" val="3581865399"/>
                    </a:ext>
                  </a:extLst>
                </a:gridCol>
                <a:gridCol w="785365">
                  <a:extLst>
                    <a:ext uri="{9D8B030D-6E8A-4147-A177-3AD203B41FA5}">
                      <a16:colId xmlns:a16="http://schemas.microsoft.com/office/drawing/2014/main" val="874308900"/>
                    </a:ext>
                  </a:extLst>
                </a:gridCol>
                <a:gridCol w="785365">
                  <a:extLst>
                    <a:ext uri="{9D8B030D-6E8A-4147-A177-3AD203B41FA5}">
                      <a16:colId xmlns:a16="http://schemas.microsoft.com/office/drawing/2014/main" val="3848985135"/>
                    </a:ext>
                  </a:extLst>
                </a:gridCol>
                <a:gridCol w="785365">
                  <a:extLst>
                    <a:ext uri="{9D8B030D-6E8A-4147-A177-3AD203B41FA5}">
                      <a16:colId xmlns:a16="http://schemas.microsoft.com/office/drawing/2014/main" val="3551316771"/>
                    </a:ext>
                  </a:extLst>
                </a:gridCol>
                <a:gridCol w="785365">
                  <a:extLst>
                    <a:ext uri="{9D8B030D-6E8A-4147-A177-3AD203B41FA5}">
                      <a16:colId xmlns:a16="http://schemas.microsoft.com/office/drawing/2014/main" val="579990208"/>
                    </a:ext>
                  </a:extLst>
                </a:gridCol>
                <a:gridCol w="785365">
                  <a:extLst>
                    <a:ext uri="{9D8B030D-6E8A-4147-A177-3AD203B41FA5}">
                      <a16:colId xmlns:a16="http://schemas.microsoft.com/office/drawing/2014/main" val="612111300"/>
                    </a:ext>
                  </a:extLst>
                </a:gridCol>
                <a:gridCol w="785365">
                  <a:extLst>
                    <a:ext uri="{9D8B030D-6E8A-4147-A177-3AD203B41FA5}">
                      <a16:colId xmlns:a16="http://schemas.microsoft.com/office/drawing/2014/main" val="3190107901"/>
                    </a:ext>
                  </a:extLst>
                </a:gridCol>
                <a:gridCol w="785365">
                  <a:extLst>
                    <a:ext uri="{9D8B030D-6E8A-4147-A177-3AD203B41FA5}">
                      <a16:colId xmlns:a16="http://schemas.microsoft.com/office/drawing/2014/main" val="2027853404"/>
                    </a:ext>
                  </a:extLst>
                </a:gridCol>
                <a:gridCol w="785365">
                  <a:extLst>
                    <a:ext uri="{9D8B030D-6E8A-4147-A177-3AD203B41FA5}">
                      <a16:colId xmlns:a16="http://schemas.microsoft.com/office/drawing/2014/main" val="2118195180"/>
                    </a:ext>
                  </a:extLst>
                </a:gridCol>
                <a:gridCol w="785365">
                  <a:extLst>
                    <a:ext uri="{9D8B030D-6E8A-4147-A177-3AD203B41FA5}">
                      <a16:colId xmlns:a16="http://schemas.microsoft.com/office/drawing/2014/main" val="3336211901"/>
                    </a:ext>
                  </a:extLst>
                </a:gridCol>
                <a:gridCol w="785365">
                  <a:extLst>
                    <a:ext uri="{9D8B030D-6E8A-4147-A177-3AD203B41FA5}">
                      <a16:colId xmlns:a16="http://schemas.microsoft.com/office/drawing/2014/main" val="1296832730"/>
                    </a:ext>
                  </a:extLst>
                </a:gridCol>
                <a:gridCol w="785365">
                  <a:extLst>
                    <a:ext uri="{9D8B030D-6E8A-4147-A177-3AD203B41FA5}">
                      <a16:colId xmlns:a16="http://schemas.microsoft.com/office/drawing/2014/main" val="99888787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sv-SE" sz="140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>
                          <a:solidFill>
                            <a:schemeClr val="bg1"/>
                          </a:solidFill>
                        </a:rPr>
                        <a:t>Dec 2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>
                          <a:solidFill>
                            <a:schemeClr val="bg1"/>
                          </a:solidFill>
                        </a:rPr>
                        <a:t>Jan 23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>
                          <a:solidFill>
                            <a:schemeClr val="bg1"/>
                          </a:solidFill>
                        </a:rPr>
                        <a:t>Feb 23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>
                          <a:solidFill>
                            <a:schemeClr val="bg1"/>
                          </a:solidFill>
                        </a:rPr>
                        <a:t>Mars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>
                          <a:solidFill>
                            <a:schemeClr val="bg1"/>
                          </a:solidFill>
                        </a:rPr>
                        <a:t>April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>
                          <a:solidFill>
                            <a:schemeClr val="bg1"/>
                          </a:solidFill>
                        </a:rPr>
                        <a:t>Maj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>
                          <a:solidFill>
                            <a:schemeClr val="bg1"/>
                          </a:solidFill>
                        </a:rPr>
                        <a:t>Juni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>
                          <a:solidFill>
                            <a:schemeClr val="bg1"/>
                          </a:solidFill>
                        </a:rPr>
                        <a:t>Juli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>
                          <a:solidFill>
                            <a:schemeClr val="bg1"/>
                          </a:solidFill>
                        </a:rPr>
                        <a:t>Aug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>
                          <a:solidFill>
                            <a:schemeClr val="bg1"/>
                          </a:solidFill>
                        </a:rPr>
                        <a:t>Sep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>
                          <a:solidFill>
                            <a:schemeClr val="bg1"/>
                          </a:solidFill>
                        </a:rPr>
                        <a:t>Okt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>
                          <a:solidFill>
                            <a:schemeClr val="bg1"/>
                          </a:solidFill>
                        </a:rPr>
                        <a:t>Nov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>
                          <a:solidFill>
                            <a:schemeClr val="bg1"/>
                          </a:solidFill>
                        </a:rPr>
                        <a:t>Dec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40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6281567"/>
                  </a:ext>
                </a:extLst>
              </a:tr>
            </a:tbl>
          </a:graphicData>
        </a:graphic>
      </p:graphicFrame>
      <p:sp>
        <p:nvSpPr>
          <p:cNvPr id="64" name="Bildtext 1 66">
            <a:extLst>
              <a:ext uri="{FF2B5EF4-FFF2-40B4-BE49-F238E27FC236}">
                <a16:creationId xmlns:a16="http://schemas.microsoft.com/office/drawing/2014/main" id="{8FE5A741-DDBA-4995-96F6-8A25B6901E50}"/>
              </a:ext>
            </a:extLst>
          </p:cNvPr>
          <p:cNvSpPr/>
          <p:nvPr/>
        </p:nvSpPr>
        <p:spPr>
          <a:xfrm>
            <a:off x="2372145" y="3998853"/>
            <a:ext cx="730983" cy="437323"/>
          </a:xfrm>
          <a:prstGeom prst="borderCallout1">
            <a:avLst>
              <a:gd name="adj1" fmla="val -8307"/>
              <a:gd name="adj2" fmla="val 48933"/>
              <a:gd name="adj3" fmla="val -264987"/>
              <a:gd name="adj4" fmla="val 48629"/>
            </a:avLst>
          </a:prstGeom>
          <a:solidFill>
            <a:srgbClr val="D36248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RG styrelse</a:t>
            </a:r>
            <a:br>
              <a:rPr kumimoji="0" lang="sv-SE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sv-SE" sz="1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1" name="Romb 70">
            <a:extLst>
              <a:ext uri="{FF2B5EF4-FFF2-40B4-BE49-F238E27FC236}">
                <a16:creationId xmlns:a16="http://schemas.microsoft.com/office/drawing/2014/main" id="{25446335-75B5-48CE-901E-ED8EC767DDCA}"/>
              </a:ext>
            </a:extLst>
          </p:cNvPr>
          <p:cNvSpPr/>
          <p:nvPr/>
        </p:nvSpPr>
        <p:spPr>
          <a:xfrm>
            <a:off x="2680615" y="2322598"/>
            <a:ext cx="275459" cy="308113"/>
          </a:xfrm>
          <a:prstGeom prst="diamond">
            <a:avLst/>
          </a:prstGeom>
          <a:solidFill>
            <a:srgbClr val="D3624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6" name="Bildtext 1 66">
            <a:extLst>
              <a:ext uri="{FF2B5EF4-FFF2-40B4-BE49-F238E27FC236}">
                <a16:creationId xmlns:a16="http://schemas.microsoft.com/office/drawing/2014/main" id="{71319652-4150-460F-9DB3-C5624399ADE4}"/>
              </a:ext>
            </a:extLst>
          </p:cNvPr>
          <p:cNvSpPr/>
          <p:nvPr/>
        </p:nvSpPr>
        <p:spPr>
          <a:xfrm>
            <a:off x="4434324" y="3998853"/>
            <a:ext cx="776222" cy="437323"/>
          </a:xfrm>
          <a:prstGeom prst="borderCallout1">
            <a:avLst>
              <a:gd name="adj1" fmla="val -8307"/>
              <a:gd name="adj2" fmla="val 48933"/>
              <a:gd name="adj3" fmla="val -264987"/>
              <a:gd name="adj4" fmla="val 48629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ormöte</a:t>
            </a:r>
            <a:br>
              <a:rPr kumimoji="0" lang="sv-SE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sv-SE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1 april</a:t>
            </a:r>
          </a:p>
        </p:txBody>
      </p:sp>
      <p:sp>
        <p:nvSpPr>
          <p:cNvPr id="127" name="Romb 126">
            <a:extLst>
              <a:ext uri="{FF2B5EF4-FFF2-40B4-BE49-F238E27FC236}">
                <a16:creationId xmlns:a16="http://schemas.microsoft.com/office/drawing/2014/main" id="{3A0F3601-9ACA-44DD-B9DD-26F5C94C42B4}"/>
              </a:ext>
            </a:extLst>
          </p:cNvPr>
          <p:cNvSpPr/>
          <p:nvPr/>
        </p:nvSpPr>
        <p:spPr>
          <a:xfrm>
            <a:off x="4684913" y="2322598"/>
            <a:ext cx="275459" cy="308113"/>
          </a:xfrm>
          <a:prstGeom prst="diamond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28" name="Rak koppling 127">
            <a:extLst>
              <a:ext uri="{FF2B5EF4-FFF2-40B4-BE49-F238E27FC236}">
                <a16:creationId xmlns:a16="http://schemas.microsoft.com/office/drawing/2014/main" id="{3CDBDFF1-52C7-4D6D-B8A1-7EFE12256187}"/>
              </a:ext>
            </a:extLst>
          </p:cNvPr>
          <p:cNvCxnSpPr>
            <a:cxnSpLocks/>
            <a:stCxn id="127" idx="2"/>
            <a:endCxn id="126" idx="3"/>
          </p:cNvCxnSpPr>
          <p:nvPr/>
        </p:nvCxnSpPr>
        <p:spPr>
          <a:xfrm flipH="1">
            <a:off x="4822435" y="2630711"/>
            <a:ext cx="208" cy="1368142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Bildtext 1 66">
            <a:extLst>
              <a:ext uri="{FF2B5EF4-FFF2-40B4-BE49-F238E27FC236}">
                <a16:creationId xmlns:a16="http://schemas.microsoft.com/office/drawing/2014/main" id="{2BA4397D-0787-4AD6-8FB7-2A9C661AF3C8}"/>
              </a:ext>
            </a:extLst>
          </p:cNvPr>
          <p:cNvSpPr/>
          <p:nvPr/>
        </p:nvSpPr>
        <p:spPr>
          <a:xfrm>
            <a:off x="1129893" y="2668589"/>
            <a:ext cx="680853" cy="385699"/>
          </a:xfrm>
          <a:prstGeom prst="borderCallout1">
            <a:avLst>
              <a:gd name="adj1" fmla="val 729052"/>
              <a:gd name="adj2" fmla="val 473540"/>
              <a:gd name="adj3" fmla="val -264987"/>
              <a:gd name="adj4" fmla="val 48629"/>
            </a:avLst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800" b="1">
                <a:solidFill>
                  <a:prstClr val="black"/>
                </a:solidFill>
                <a:latin typeface="Arial"/>
              </a:rPr>
              <a:t>Styrgrupp</a:t>
            </a:r>
            <a:br>
              <a:rPr kumimoji="0" lang="sv-SE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sv-SE" sz="1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0" name="Romb 129">
            <a:extLst>
              <a:ext uri="{FF2B5EF4-FFF2-40B4-BE49-F238E27FC236}">
                <a16:creationId xmlns:a16="http://schemas.microsoft.com/office/drawing/2014/main" id="{320309B1-4AA7-498B-92DA-B17A637CD8AB}"/>
              </a:ext>
            </a:extLst>
          </p:cNvPr>
          <p:cNvSpPr/>
          <p:nvPr/>
        </p:nvSpPr>
        <p:spPr>
          <a:xfrm>
            <a:off x="1309314" y="2330836"/>
            <a:ext cx="286434" cy="343904"/>
          </a:xfrm>
          <a:prstGeom prst="diamond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Bildtext 1 66">
            <a:extLst>
              <a:ext uri="{FF2B5EF4-FFF2-40B4-BE49-F238E27FC236}">
                <a16:creationId xmlns:a16="http://schemas.microsoft.com/office/drawing/2014/main" id="{CA42F389-B9D2-2729-21DF-689DA119F110}"/>
              </a:ext>
            </a:extLst>
          </p:cNvPr>
          <p:cNvSpPr/>
          <p:nvPr/>
        </p:nvSpPr>
        <p:spPr>
          <a:xfrm>
            <a:off x="1912769" y="2668589"/>
            <a:ext cx="711284" cy="449591"/>
          </a:xfrm>
          <a:prstGeom prst="borderCallout1">
            <a:avLst>
              <a:gd name="adj1" fmla="val 729052"/>
              <a:gd name="adj2" fmla="val 473540"/>
              <a:gd name="adj3" fmla="val -264987"/>
              <a:gd name="adj4" fmla="val 48629"/>
            </a:avLst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800" b="1">
                <a:solidFill>
                  <a:prstClr val="black"/>
                </a:solidFill>
                <a:latin typeface="Arial"/>
              </a:rPr>
              <a:t>10 jan WS Styrgrupp</a:t>
            </a:r>
            <a:br>
              <a:rPr kumimoji="0" lang="sv-SE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sv-SE" sz="1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omb 7">
            <a:extLst>
              <a:ext uri="{FF2B5EF4-FFF2-40B4-BE49-F238E27FC236}">
                <a16:creationId xmlns:a16="http://schemas.microsoft.com/office/drawing/2014/main" id="{5E2CC543-3426-3247-28ED-02CE6D31EB57}"/>
              </a:ext>
            </a:extLst>
          </p:cNvPr>
          <p:cNvSpPr/>
          <p:nvPr/>
        </p:nvSpPr>
        <p:spPr>
          <a:xfrm>
            <a:off x="2079556" y="2330836"/>
            <a:ext cx="286434" cy="343904"/>
          </a:xfrm>
          <a:prstGeom prst="diamond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Bildtext 1 66">
            <a:extLst>
              <a:ext uri="{FF2B5EF4-FFF2-40B4-BE49-F238E27FC236}">
                <a16:creationId xmlns:a16="http://schemas.microsoft.com/office/drawing/2014/main" id="{6EF6D677-68F2-175F-1E46-3096A67A4E8F}"/>
              </a:ext>
            </a:extLst>
          </p:cNvPr>
          <p:cNvSpPr/>
          <p:nvPr/>
        </p:nvSpPr>
        <p:spPr>
          <a:xfrm>
            <a:off x="9062943" y="2668589"/>
            <a:ext cx="680853" cy="385699"/>
          </a:xfrm>
          <a:prstGeom prst="borderCallout1">
            <a:avLst>
              <a:gd name="adj1" fmla="val 729052"/>
              <a:gd name="adj2" fmla="val 473540"/>
              <a:gd name="adj3" fmla="val -264987"/>
              <a:gd name="adj4" fmla="val 48629"/>
            </a:avLst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800" b="1">
                <a:solidFill>
                  <a:prstClr val="black"/>
                </a:solidFill>
                <a:latin typeface="Arial"/>
              </a:rPr>
              <a:t>Direktörsgrupper</a:t>
            </a:r>
            <a:br>
              <a:rPr kumimoji="0" lang="sv-SE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sv-SE" sz="1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omb 15">
            <a:extLst>
              <a:ext uri="{FF2B5EF4-FFF2-40B4-BE49-F238E27FC236}">
                <a16:creationId xmlns:a16="http://schemas.microsoft.com/office/drawing/2014/main" id="{8B7D214A-9248-42BD-AFE2-519FE4B5AB31}"/>
              </a:ext>
            </a:extLst>
          </p:cNvPr>
          <p:cNvSpPr/>
          <p:nvPr/>
        </p:nvSpPr>
        <p:spPr>
          <a:xfrm>
            <a:off x="9242364" y="2330836"/>
            <a:ext cx="286434" cy="343904"/>
          </a:xfrm>
          <a:prstGeom prst="diamond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Bildtext 1 66">
            <a:extLst>
              <a:ext uri="{FF2B5EF4-FFF2-40B4-BE49-F238E27FC236}">
                <a16:creationId xmlns:a16="http://schemas.microsoft.com/office/drawing/2014/main" id="{B661A71D-52CE-ACBC-6136-0CB59B3BF98C}"/>
              </a:ext>
            </a:extLst>
          </p:cNvPr>
          <p:cNvSpPr/>
          <p:nvPr/>
        </p:nvSpPr>
        <p:spPr>
          <a:xfrm>
            <a:off x="4824578" y="2668589"/>
            <a:ext cx="680853" cy="385699"/>
          </a:xfrm>
          <a:prstGeom prst="borderCallout1">
            <a:avLst>
              <a:gd name="adj1" fmla="val 729052"/>
              <a:gd name="adj2" fmla="val 473540"/>
              <a:gd name="adj3" fmla="val -264987"/>
              <a:gd name="adj4" fmla="val 48629"/>
            </a:avLst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800" b="1">
                <a:solidFill>
                  <a:prstClr val="black"/>
                </a:solidFill>
                <a:latin typeface="Arial"/>
              </a:rPr>
              <a:t>Direktörsgrupper</a:t>
            </a:r>
            <a:br>
              <a:rPr kumimoji="0" lang="sv-SE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sv-SE" sz="1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omb 17">
            <a:extLst>
              <a:ext uri="{FF2B5EF4-FFF2-40B4-BE49-F238E27FC236}">
                <a16:creationId xmlns:a16="http://schemas.microsoft.com/office/drawing/2014/main" id="{0A731C01-9D04-ED0A-E8E1-3411048D22DE}"/>
              </a:ext>
            </a:extLst>
          </p:cNvPr>
          <p:cNvSpPr/>
          <p:nvPr/>
        </p:nvSpPr>
        <p:spPr>
          <a:xfrm>
            <a:off x="5003999" y="2330836"/>
            <a:ext cx="286434" cy="343904"/>
          </a:xfrm>
          <a:prstGeom prst="diamond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1" name="Grupp 20">
            <a:extLst>
              <a:ext uri="{FF2B5EF4-FFF2-40B4-BE49-F238E27FC236}">
                <a16:creationId xmlns:a16="http://schemas.microsoft.com/office/drawing/2014/main" id="{1C2C9CEF-E302-4878-FE3D-53C0E5B49A6F}"/>
              </a:ext>
            </a:extLst>
          </p:cNvPr>
          <p:cNvGrpSpPr/>
          <p:nvPr/>
        </p:nvGrpSpPr>
        <p:grpSpPr>
          <a:xfrm>
            <a:off x="9007098" y="3074828"/>
            <a:ext cx="2979139" cy="702904"/>
            <a:chOff x="3722248" y="2357271"/>
            <a:chExt cx="1881392" cy="702904"/>
          </a:xfrm>
        </p:grpSpPr>
        <p:sp>
          <p:nvSpPr>
            <p:cNvPr id="22" name="Högerpil 113">
              <a:extLst>
                <a:ext uri="{FF2B5EF4-FFF2-40B4-BE49-F238E27FC236}">
                  <a16:creationId xmlns:a16="http://schemas.microsoft.com/office/drawing/2014/main" id="{E601D180-FD0F-8B79-1EB2-A4A308BB53D6}"/>
                </a:ext>
              </a:extLst>
            </p:cNvPr>
            <p:cNvSpPr/>
            <p:nvPr/>
          </p:nvSpPr>
          <p:spPr>
            <a:xfrm>
              <a:off x="3722249" y="2357271"/>
              <a:ext cx="1881391" cy="702904"/>
            </a:xfrm>
            <a:prstGeom prst="rightArrow">
              <a:avLst/>
            </a:prstGeom>
            <a:solidFill>
              <a:srgbClr val="D4624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textruta 22">
              <a:extLst>
                <a:ext uri="{FF2B5EF4-FFF2-40B4-BE49-F238E27FC236}">
                  <a16:creationId xmlns:a16="http://schemas.microsoft.com/office/drawing/2014/main" id="{BB01248B-A28B-B858-F83D-8A5725C07968}"/>
                </a:ext>
              </a:extLst>
            </p:cNvPr>
            <p:cNvSpPr txBox="1"/>
            <p:nvPr/>
          </p:nvSpPr>
          <p:spPr>
            <a:xfrm>
              <a:off x="3722248" y="2530344"/>
              <a:ext cx="188139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v-SE" sz="1000" b="1">
                  <a:solidFill>
                    <a:schemeClr val="bg1"/>
                  </a:solidFill>
                  <a:latin typeface="Arial"/>
                  <a:cs typeface="Arial" panose="020B0604020202020204" pitchFamily="34" charset="0"/>
                </a:rPr>
                <a:t>Behandling nämnder/styrelser</a:t>
              </a:r>
              <a:endParaRPr kumimoji="0" lang="sv-SE" sz="10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4" name="Grupp 23">
            <a:extLst>
              <a:ext uri="{FF2B5EF4-FFF2-40B4-BE49-F238E27FC236}">
                <a16:creationId xmlns:a16="http://schemas.microsoft.com/office/drawing/2014/main" id="{A765D68F-6CF9-D6EC-9500-382DAAEC68D5}"/>
              </a:ext>
            </a:extLst>
          </p:cNvPr>
          <p:cNvGrpSpPr/>
          <p:nvPr/>
        </p:nvGrpSpPr>
        <p:grpSpPr>
          <a:xfrm>
            <a:off x="2532166" y="3074828"/>
            <a:ext cx="2674242" cy="702904"/>
            <a:chOff x="3722248" y="2357271"/>
            <a:chExt cx="1881392" cy="702904"/>
          </a:xfrm>
        </p:grpSpPr>
        <p:sp>
          <p:nvSpPr>
            <p:cNvPr id="25" name="Högerpil 113">
              <a:extLst>
                <a:ext uri="{FF2B5EF4-FFF2-40B4-BE49-F238E27FC236}">
                  <a16:creationId xmlns:a16="http://schemas.microsoft.com/office/drawing/2014/main" id="{EB5A7771-92BF-BF52-F42D-87EE686A2003}"/>
                </a:ext>
              </a:extLst>
            </p:cNvPr>
            <p:cNvSpPr/>
            <p:nvPr/>
          </p:nvSpPr>
          <p:spPr>
            <a:xfrm>
              <a:off x="3722249" y="2357271"/>
              <a:ext cx="1881391" cy="702904"/>
            </a:xfrm>
            <a:prstGeom prst="rightArrow">
              <a:avLst/>
            </a:prstGeom>
            <a:solidFill>
              <a:srgbClr val="EEC7B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textruta 25">
              <a:extLst>
                <a:ext uri="{FF2B5EF4-FFF2-40B4-BE49-F238E27FC236}">
                  <a16:creationId xmlns:a16="http://schemas.microsoft.com/office/drawing/2014/main" id="{AC760B4C-D954-B6D3-D5A8-0B49ECAB37BC}"/>
                </a:ext>
              </a:extLst>
            </p:cNvPr>
            <p:cNvSpPr txBox="1"/>
            <p:nvPr/>
          </p:nvSpPr>
          <p:spPr>
            <a:xfrm>
              <a:off x="3722248" y="2530344"/>
              <a:ext cx="188139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00" b="1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Prioritera insatser/formulera dilemman</a:t>
              </a:r>
              <a:br>
                <a:rPr kumimoji="0" lang="sv-SE" sz="1000" b="1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</a:br>
              <a:r>
                <a:rPr kumimoji="0" lang="sv-SE" sz="1000" b="1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arbetsgrupper</a:t>
              </a:r>
            </a:p>
          </p:txBody>
        </p:sp>
      </p:grpSp>
      <p:sp>
        <p:nvSpPr>
          <p:cNvPr id="3" name="Bildtext 1 66">
            <a:extLst>
              <a:ext uri="{FF2B5EF4-FFF2-40B4-BE49-F238E27FC236}">
                <a16:creationId xmlns:a16="http://schemas.microsoft.com/office/drawing/2014/main" id="{8A984B0F-7694-C074-166C-F6AEDAA37441}"/>
              </a:ext>
            </a:extLst>
          </p:cNvPr>
          <p:cNvSpPr/>
          <p:nvPr/>
        </p:nvSpPr>
        <p:spPr>
          <a:xfrm>
            <a:off x="2743908" y="2670157"/>
            <a:ext cx="711284" cy="449591"/>
          </a:xfrm>
          <a:prstGeom prst="borderCallout1">
            <a:avLst>
              <a:gd name="adj1" fmla="val 729052"/>
              <a:gd name="adj2" fmla="val 473540"/>
              <a:gd name="adj3" fmla="val -264987"/>
              <a:gd name="adj4" fmla="val 48629"/>
            </a:avLst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800" b="1">
                <a:solidFill>
                  <a:prstClr val="black"/>
                </a:solidFill>
                <a:latin typeface="Arial"/>
              </a:rPr>
              <a:t>21 feb WS BRG </a:t>
            </a:r>
            <a:br>
              <a:rPr kumimoji="0" lang="sv-SE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sv-SE" sz="1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Romb 3">
            <a:extLst>
              <a:ext uri="{FF2B5EF4-FFF2-40B4-BE49-F238E27FC236}">
                <a16:creationId xmlns:a16="http://schemas.microsoft.com/office/drawing/2014/main" id="{C9D7B6BB-DBF5-C33A-14EA-382DE3D78F76}"/>
              </a:ext>
            </a:extLst>
          </p:cNvPr>
          <p:cNvSpPr/>
          <p:nvPr/>
        </p:nvSpPr>
        <p:spPr>
          <a:xfrm>
            <a:off x="2929543" y="2304123"/>
            <a:ext cx="286434" cy="343904"/>
          </a:xfrm>
          <a:prstGeom prst="diamond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00044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latshållare för bild 10">
            <a:extLst>
              <a:ext uri="{FF2B5EF4-FFF2-40B4-BE49-F238E27FC236}">
                <a16:creationId xmlns:a16="http://schemas.microsoft.com/office/drawing/2014/main" id="{AF82675A-CE11-0137-4BA0-EC6B7BDDFF9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/>
        </p:blipFill>
        <p:spPr>
          <a:xfrm>
            <a:off x="2675114" y="365218"/>
            <a:ext cx="7288156" cy="6332839"/>
          </a:xfrm>
        </p:spPr>
      </p:pic>
      <p:sp>
        <p:nvSpPr>
          <p:cNvPr id="27" name="textruta 26">
            <a:extLst>
              <a:ext uri="{FF2B5EF4-FFF2-40B4-BE49-F238E27FC236}">
                <a16:creationId xmlns:a16="http://schemas.microsoft.com/office/drawing/2014/main" id="{4297C4CC-6088-E761-95E6-5A300B231020}"/>
              </a:ext>
            </a:extLst>
          </p:cNvPr>
          <p:cNvSpPr txBox="1"/>
          <p:nvPr/>
        </p:nvSpPr>
        <p:spPr>
          <a:xfrm>
            <a:off x="287869" y="261453"/>
            <a:ext cx="2319866" cy="1323439"/>
          </a:xfrm>
          <a:prstGeom prst="rect">
            <a:avLst/>
          </a:prstGeom>
          <a:solidFill>
            <a:srgbClr val="8EB8C9"/>
          </a:solidFill>
          <a:ln>
            <a:solidFill>
              <a:schemeClr val="accent1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sv-SE" sz="2000">
                <a:solidFill>
                  <a:schemeClr val="bg1"/>
                </a:solidFill>
              </a:rPr>
              <a:t>Från HP 2 –  </a:t>
            </a:r>
            <a:endParaRPr lang="sv-SE">
              <a:solidFill>
                <a:schemeClr val="bg1"/>
              </a:solidFill>
              <a:cs typeface="Arial"/>
            </a:endParaRPr>
          </a:p>
          <a:p>
            <a:r>
              <a:rPr lang="sv-SE" sz="2000">
                <a:solidFill>
                  <a:schemeClr val="bg1"/>
                </a:solidFill>
              </a:rPr>
              <a:t>fokus på det vi gör</a:t>
            </a:r>
            <a:r>
              <a:rPr lang="sv-SE" sz="2000" b="1">
                <a:solidFill>
                  <a:schemeClr val="bg1"/>
                </a:solidFill>
              </a:rPr>
              <a:t> tillsammans </a:t>
            </a:r>
            <a:r>
              <a:rPr lang="sv-SE" sz="2000">
                <a:solidFill>
                  <a:schemeClr val="bg1"/>
                </a:solidFill>
              </a:rPr>
              <a:t>samt </a:t>
            </a:r>
            <a:r>
              <a:rPr lang="sv-SE" sz="2000" b="1">
                <a:solidFill>
                  <a:schemeClr val="bg1"/>
                </a:solidFill>
              </a:rPr>
              <a:t>nya </a:t>
            </a:r>
            <a:r>
              <a:rPr lang="sv-SE" sz="2000">
                <a:solidFill>
                  <a:schemeClr val="bg1"/>
                </a:solidFill>
              </a:rPr>
              <a:t>aktiviteter</a:t>
            </a:r>
            <a:endParaRPr lang="sv-SE">
              <a:solidFill>
                <a:schemeClr val="bg1"/>
              </a:solidFill>
              <a:cs typeface="Arial"/>
            </a:endParaRPr>
          </a:p>
        </p:txBody>
      </p:sp>
      <p:sp>
        <p:nvSpPr>
          <p:cNvPr id="38" name="Ellips 37">
            <a:extLst>
              <a:ext uri="{FF2B5EF4-FFF2-40B4-BE49-F238E27FC236}">
                <a16:creationId xmlns:a16="http://schemas.microsoft.com/office/drawing/2014/main" id="{263923BF-0AF9-2EDA-8E9E-2DEF91FCFF09}"/>
              </a:ext>
            </a:extLst>
          </p:cNvPr>
          <p:cNvSpPr/>
          <p:nvPr/>
        </p:nvSpPr>
        <p:spPr>
          <a:xfrm>
            <a:off x="5276708" y="2594938"/>
            <a:ext cx="1814356" cy="724006"/>
          </a:xfrm>
          <a:prstGeom prst="ellipse">
            <a:avLst/>
          </a:prstGeom>
          <a:solidFill>
            <a:srgbClr val="8EB8C9"/>
          </a:solidFill>
          <a:ln>
            <a:solidFill>
              <a:srgbClr val="8EB8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sv-SE" sz="1000" b="1">
              <a:solidFill>
                <a:srgbClr val="D36247"/>
              </a:solidFill>
            </a:endParaRPr>
          </a:p>
          <a:p>
            <a:pPr algn="ctr"/>
            <a:r>
              <a:rPr lang="sv-SE" sz="1000" b="1">
                <a:solidFill>
                  <a:srgbClr val="D36247"/>
                </a:solidFill>
              </a:rPr>
              <a:t>HP 8 </a:t>
            </a:r>
            <a:r>
              <a:rPr lang="sv-SE" sz="1000" b="1"/>
              <a:t>2034 – 2035</a:t>
            </a:r>
            <a:br>
              <a:rPr lang="sv-SE" sz="1000" b="1"/>
            </a:br>
            <a:r>
              <a:rPr lang="sv-SE" sz="1000" b="1"/>
              <a:t> Avgränsningar?</a:t>
            </a:r>
            <a:endParaRPr lang="sv-SE"/>
          </a:p>
          <a:p>
            <a:pPr algn="ctr"/>
            <a:endParaRPr lang="sv-SE" sz="1200"/>
          </a:p>
        </p:txBody>
      </p:sp>
      <p:sp>
        <p:nvSpPr>
          <p:cNvPr id="2" name="Ellips 1">
            <a:extLst>
              <a:ext uri="{FF2B5EF4-FFF2-40B4-BE49-F238E27FC236}">
                <a16:creationId xmlns:a16="http://schemas.microsoft.com/office/drawing/2014/main" id="{E7998665-03E5-2969-DBA4-DB50211EBA9F}"/>
              </a:ext>
            </a:extLst>
          </p:cNvPr>
          <p:cNvSpPr/>
          <p:nvPr/>
        </p:nvSpPr>
        <p:spPr>
          <a:xfrm>
            <a:off x="8301617" y="2029211"/>
            <a:ext cx="1814356" cy="724006"/>
          </a:xfrm>
          <a:prstGeom prst="ellipse">
            <a:avLst/>
          </a:prstGeom>
          <a:solidFill>
            <a:srgbClr val="8EB8C9"/>
          </a:solidFill>
          <a:ln>
            <a:solidFill>
              <a:srgbClr val="8EB8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sv-SE" sz="1000" b="1">
              <a:solidFill>
                <a:srgbClr val="D36247"/>
              </a:solidFill>
            </a:endParaRPr>
          </a:p>
          <a:p>
            <a:pPr algn="ctr"/>
            <a:r>
              <a:rPr lang="sv-SE" sz="1000" b="1">
                <a:solidFill>
                  <a:srgbClr val="D36247"/>
                </a:solidFill>
              </a:rPr>
              <a:t>HP 1 </a:t>
            </a:r>
            <a:r>
              <a:rPr lang="sv-SE" sz="1000" b="1"/>
              <a:t>2019 – 2021</a:t>
            </a:r>
            <a:br>
              <a:rPr lang="sv-SE" sz="1000" b="1"/>
            </a:br>
            <a:r>
              <a:rPr lang="sv-SE" sz="1000" b="1"/>
              <a:t> 91 aktiviteter</a:t>
            </a:r>
            <a:endParaRPr lang="sv-SE"/>
          </a:p>
          <a:p>
            <a:pPr algn="ctr"/>
            <a:endParaRPr lang="sv-SE" sz="1200"/>
          </a:p>
        </p:txBody>
      </p:sp>
      <p:sp>
        <p:nvSpPr>
          <p:cNvPr id="3" name="Ellips 2">
            <a:extLst>
              <a:ext uri="{FF2B5EF4-FFF2-40B4-BE49-F238E27FC236}">
                <a16:creationId xmlns:a16="http://schemas.microsoft.com/office/drawing/2014/main" id="{6A9DC6B3-4C3E-D19A-E1F2-8DA3EC4286B7}"/>
              </a:ext>
            </a:extLst>
          </p:cNvPr>
          <p:cNvSpPr/>
          <p:nvPr/>
        </p:nvSpPr>
        <p:spPr>
          <a:xfrm>
            <a:off x="7735890" y="3391574"/>
            <a:ext cx="1814356" cy="724006"/>
          </a:xfrm>
          <a:prstGeom prst="ellipse">
            <a:avLst/>
          </a:prstGeom>
          <a:solidFill>
            <a:srgbClr val="8EB8C9"/>
          </a:solidFill>
          <a:ln>
            <a:solidFill>
              <a:srgbClr val="8EB8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sv-SE" sz="1000" b="1">
              <a:solidFill>
                <a:srgbClr val="D36247"/>
              </a:solidFill>
            </a:endParaRPr>
          </a:p>
          <a:p>
            <a:pPr algn="ctr"/>
            <a:r>
              <a:rPr lang="sv-SE" sz="1000" b="1">
                <a:solidFill>
                  <a:srgbClr val="D36247"/>
                </a:solidFill>
              </a:rPr>
              <a:t>HP 4 </a:t>
            </a:r>
            <a:r>
              <a:rPr lang="sv-SE" sz="1000" b="1"/>
              <a:t>2026 – 2027</a:t>
            </a:r>
            <a:br>
              <a:rPr lang="sv-SE" sz="1000" b="1"/>
            </a:br>
            <a:r>
              <a:rPr lang="sv-SE" sz="1000" b="1">
                <a:cs typeface="Arial"/>
              </a:rPr>
              <a:t>Avgränsningar?</a:t>
            </a:r>
          </a:p>
          <a:p>
            <a:pPr algn="ctr"/>
            <a:endParaRPr lang="sv-SE" sz="1200"/>
          </a:p>
        </p:txBody>
      </p:sp>
      <p:sp>
        <p:nvSpPr>
          <p:cNvPr id="6" name="Ellips 5">
            <a:extLst>
              <a:ext uri="{FF2B5EF4-FFF2-40B4-BE49-F238E27FC236}">
                <a16:creationId xmlns:a16="http://schemas.microsoft.com/office/drawing/2014/main" id="{8213EEA2-C14F-C044-09D8-5854A154272B}"/>
              </a:ext>
            </a:extLst>
          </p:cNvPr>
          <p:cNvSpPr/>
          <p:nvPr/>
        </p:nvSpPr>
        <p:spPr>
          <a:xfrm>
            <a:off x="5484525" y="4344073"/>
            <a:ext cx="1814356" cy="724006"/>
          </a:xfrm>
          <a:prstGeom prst="ellipse">
            <a:avLst/>
          </a:prstGeom>
          <a:solidFill>
            <a:srgbClr val="8EB8C9"/>
          </a:solidFill>
          <a:ln>
            <a:solidFill>
              <a:srgbClr val="8EB8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sv-SE" sz="1000" b="1">
              <a:solidFill>
                <a:srgbClr val="D36247"/>
              </a:solidFill>
            </a:endParaRPr>
          </a:p>
          <a:p>
            <a:pPr algn="ctr"/>
            <a:r>
              <a:rPr lang="sv-SE" sz="1000" b="1">
                <a:solidFill>
                  <a:srgbClr val="D36247"/>
                </a:solidFill>
              </a:rPr>
              <a:t>HP 7 </a:t>
            </a:r>
            <a:r>
              <a:rPr lang="sv-SE" sz="1000" b="1"/>
              <a:t>2032 – 2033</a:t>
            </a:r>
            <a:br>
              <a:rPr lang="sv-SE" sz="1000" b="1"/>
            </a:br>
            <a:r>
              <a:rPr lang="sv-SE" sz="1000" b="1"/>
              <a:t> Avgränsningar?</a:t>
            </a:r>
            <a:endParaRPr lang="sv-SE"/>
          </a:p>
          <a:p>
            <a:pPr algn="ctr"/>
            <a:endParaRPr lang="sv-SE" sz="1200"/>
          </a:p>
        </p:txBody>
      </p:sp>
      <p:sp>
        <p:nvSpPr>
          <p:cNvPr id="4" name="Ellips 3">
            <a:extLst>
              <a:ext uri="{FF2B5EF4-FFF2-40B4-BE49-F238E27FC236}">
                <a16:creationId xmlns:a16="http://schemas.microsoft.com/office/drawing/2014/main" id="{BBCE2FCB-A719-7E28-2DB5-C69C1E049825}"/>
              </a:ext>
            </a:extLst>
          </p:cNvPr>
          <p:cNvSpPr/>
          <p:nvPr/>
        </p:nvSpPr>
        <p:spPr>
          <a:xfrm>
            <a:off x="3741163" y="2052302"/>
            <a:ext cx="1814356" cy="724006"/>
          </a:xfrm>
          <a:prstGeom prst="ellipse">
            <a:avLst/>
          </a:prstGeom>
          <a:solidFill>
            <a:srgbClr val="8EB8C9"/>
          </a:solidFill>
          <a:ln>
            <a:solidFill>
              <a:srgbClr val="8EB8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sv-SE" sz="1000" b="1">
              <a:solidFill>
                <a:srgbClr val="D36247"/>
              </a:solidFill>
            </a:endParaRPr>
          </a:p>
          <a:p>
            <a:pPr algn="ctr"/>
            <a:r>
              <a:rPr lang="sv-SE" sz="1000" b="1">
                <a:solidFill>
                  <a:srgbClr val="D36247"/>
                </a:solidFill>
              </a:rPr>
              <a:t>HP 5 </a:t>
            </a:r>
            <a:r>
              <a:rPr lang="sv-SE" sz="1000" b="1"/>
              <a:t>2028 – 2029</a:t>
            </a:r>
            <a:br>
              <a:rPr lang="sv-SE" sz="1000" b="1"/>
            </a:br>
            <a:r>
              <a:rPr lang="sv-SE" sz="1000" b="1"/>
              <a:t> Avgränsningar?</a:t>
            </a:r>
            <a:endParaRPr lang="sv-SE"/>
          </a:p>
          <a:p>
            <a:pPr algn="ctr"/>
            <a:endParaRPr lang="sv-SE" sz="1200"/>
          </a:p>
        </p:txBody>
      </p:sp>
      <p:sp>
        <p:nvSpPr>
          <p:cNvPr id="5" name="Ellips 4">
            <a:extLst>
              <a:ext uri="{FF2B5EF4-FFF2-40B4-BE49-F238E27FC236}">
                <a16:creationId xmlns:a16="http://schemas.microsoft.com/office/drawing/2014/main" id="{930FE3E8-7458-7C55-A52F-6AC69A61300C}"/>
              </a:ext>
            </a:extLst>
          </p:cNvPr>
          <p:cNvSpPr/>
          <p:nvPr/>
        </p:nvSpPr>
        <p:spPr>
          <a:xfrm>
            <a:off x="3440980" y="4505710"/>
            <a:ext cx="1814356" cy="724006"/>
          </a:xfrm>
          <a:prstGeom prst="ellipse">
            <a:avLst/>
          </a:prstGeom>
          <a:solidFill>
            <a:srgbClr val="8EB8C9"/>
          </a:solidFill>
          <a:ln>
            <a:solidFill>
              <a:srgbClr val="8EB8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sv-SE" sz="1000" b="1">
              <a:solidFill>
                <a:srgbClr val="D36247"/>
              </a:solidFill>
            </a:endParaRPr>
          </a:p>
          <a:p>
            <a:pPr algn="ctr"/>
            <a:r>
              <a:rPr lang="sv-SE" sz="1000" b="1">
                <a:solidFill>
                  <a:srgbClr val="D36247"/>
                </a:solidFill>
              </a:rPr>
              <a:t>HP 6 </a:t>
            </a:r>
            <a:r>
              <a:rPr lang="sv-SE" sz="1000" b="1"/>
              <a:t>2030 – 2031</a:t>
            </a:r>
            <a:br>
              <a:rPr lang="sv-SE" sz="1000" b="1"/>
            </a:br>
            <a:r>
              <a:rPr lang="sv-SE" sz="1000" b="1"/>
              <a:t> Avgränsningar?</a:t>
            </a:r>
            <a:endParaRPr lang="sv-SE"/>
          </a:p>
          <a:p>
            <a:pPr algn="ctr"/>
            <a:endParaRPr lang="sv-SE" sz="1200"/>
          </a:p>
        </p:txBody>
      </p:sp>
      <p:sp>
        <p:nvSpPr>
          <p:cNvPr id="41" name="Ellips 40">
            <a:extLst>
              <a:ext uri="{FF2B5EF4-FFF2-40B4-BE49-F238E27FC236}">
                <a16:creationId xmlns:a16="http://schemas.microsoft.com/office/drawing/2014/main" id="{5FAFA348-D48E-8784-DC10-6B1C077AA464}"/>
              </a:ext>
            </a:extLst>
          </p:cNvPr>
          <p:cNvSpPr/>
          <p:nvPr/>
        </p:nvSpPr>
        <p:spPr>
          <a:xfrm>
            <a:off x="5571243" y="3157983"/>
            <a:ext cx="1313442" cy="1244338"/>
          </a:xfrm>
          <a:prstGeom prst="ellipse">
            <a:avLst/>
          </a:prstGeom>
          <a:solidFill>
            <a:srgbClr val="D362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sv-SE" sz="1400" b="1"/>
              <a:t>2035:</a:t>
            </a:r>
            <a:endParaRPr lang="sv-SE"/>
          </a:p>
          <a:p>
            <a:pPr algn="ctr"/>
            <a:r>
              <a:rPr lang="sv-SE" sz="1400" b="1"/>
              <a:t>120 000 nya jobb</a:t>
            </a:r>
            <a:endParaRPr lang="sv-SE" sz="1400" b="1">
              <a:cs typeface="Arial"/>
            </a:endParaRPr>
          </a:p>
        </p:txBody>
      </p:sp>
      <p:sp>
        <p:nvSpPr>
          <p:cNvPr id="7" name="Ellips 6">
            <a:extLst>
              <a:ext uri="{FF2B5EF4-FFF2-40B4-BE49-F238E27FC236}">
                <a16:creationId xmlns:a16="http://schemas.microsoft.com/office/drawing/2014/main" id="{754A5A40-0A4B-4A50-2A5D-610CEA23BFC8}"/>
              </a:ext>
            </a:extLst>
          </p:cNvPr>
          <p:cNvSpPr/>
          <p:nvPr/>
        </p:nvSpPr>
        <p:spPr>
          <a:xfrm>
            <a:off x="1818843" y="3853391"/>
            <a:ext cx="1814356" cy="724006"/>
          </a:xfrm>
          <a:prstGeom prst="ellipse">
            <a:avLst/>
          </a:prstGeom>
          <a:solidFill>
            <a:srgbClr val="8EB8C9"/>
          </a:solidFill>
          <a:ln>
            <a:solidFill>
              <a:srgbClr val="8EB8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sv-SE" sz="1000" b="1">
              <a:solidFill>
                <a:srgbClr val="D36247"/>
              </a:solidFill>
            </a:endParaRPr>
          </a:p>
          <a:p>
            <a:pPr algn="ctr"/>
            <a:r>
              <a:rPr lang="sv-SE" sz="1000" b="1">
                <a:solidFill>
                  <a:srgbClr val="D36247"/>
                </a:solidFill>
              </a:rPr>
              <a:t>HP 3 </a:t>
            </a:r>
            <a:r>
              <a:rPr lang="sv-SE" sz="1000" b="1"/>
              <a:t>2024 – 2025</a:t>
            </a:r>
            <a:br>
              <a:rPr lang="sv-SE" sz="1000" b="1"/>
            </a:br>
            <a:r>
              <a:rPr lang="sv-SE" sz="1000" b="1"/>
              <a:t> Avgränsning:</a:t>
            </a:r>
            <a:endParaRPr lang="sv-SE"/>
          </a:p>
          <a:p>
            <a:pPr algn="ctr"/>
            <a:r>
              <a:rPr lang="sv-SE" sz="1000" b="1"/>
              <a:t>x utmaningar</a:t>
            </a:r>
            <a:endParaRPr lang="sv-SE">
              <a:cs typeface="Arial"/>
            </a:endParaRPr>
          </a:p>
          <a:p>
            <a:pPr algn="ctr"/>
            <a:endParaRPr lang="sv-SE" sz="1200"/>
          </a:p>
        </p:txBody>
      </p:sp>
      <p:sp>
        <p:nvSpPr>
          <p:cNvPr id="8" name="Ellips 7">
            <a:extLst>
              <a:ext uri="{FF2B5EF4-FFF2-40B4-BE49-F238E27FC236}">
                <a16:creationId xmlns:a16="http://schemas.microsoft.com/office/drawing/2014/main" id="{0430A534-BD0A-78DE-E986-81129BD70F3F}"/>
              </a:ext>
            </a:extLst>
          </p:cNvPr>
          <p:cNvSpPr/>
          <p:nvPr/>
        </p:nvSpPr>
        <p:spPr>
          <a:xfrm>
            <a:off x="3632634" y="863118"/>
            <a:ext cx="1922883" cy="821757"/>
          </a:xfrm>
          <a:prstGeom prst="ellipse">
            <a:avLst/>
          </a:prstGeom>
          <a:solidFill>
            <a:srgbClr val="8EB8C9"/>
          </a:solidFill>
          <a:ln>
            <a:solidFill>
              <a:srgbClr val="8EB8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sv-SE" sz="1000" b="1">
              <a:solidFill>
                <a:srgbClr val="D36247"/>
              </a:solidFill>
            </a:endParaRPr>
          </a:p>
          <a:p>
            <a:pPr algn="ctr"/>
            <a:r>
              <a:rPr lang="sv-SE" sz="1000" b="1">
                <a:solidFill>
                  <a:srgbClr val="D36247"/>
                </a:solidFill>
              </a:rPr>
              <a:t>HP 2 </a:t>
            </a:r>
            <a:r>
              <a:rPr lang="sv-SE" sz="1000" b="1"/>
              <a:t>2022 – 2023</a:t>
            </a:r>
            <a:br>
              <a:rPr lang="sv-SE" sz="1000" b="1"/>
            </a:br>
            <a:r>
              <a:rPr lang="sv-SE" sz="1000" b="1"/>
              <a:t> 46 aktiviteter</a:t>
            </a:r>
            <a:endParaRPr lang="sv-SE"/>
          </a:p>
          <a:p>
            <a:pPr algn="ctr"/>
            <a:r>
              <a:rPr lang="sv-SE" sz="1000" b="1"/>
              <a:t>Avgränsning:</a:t>
            </a:r>
            <a:endParaRPr lang="sv-SE" sz="1000" b="1" err="1"/>
          </a:p>
          <a:p>
            <a:pPr algn="ctr"/>
            <a:r>
              <a:rPr lang="sv-SE" sz="1000" b="1"/>
              <a:t>4 indikatorer</a:t>
            </a:r>
            <a:endParaRPr lang="sv-SE" sz="1000" b="1">
              <a:cs typeface="Arial"/>
            </a:endParaRPr>
          </a:p>
          <a:p>
            <a:pPr algn="ctr"/>
            <a:endParaRPr lang="sv-SE" sz="1200"/>
          </a:p>
        </p:txBody>
      </p:sp>
    </p:spTree>
    <p:extLst>
      <p:ext uri="{BB962C8B-B14F-4D97-AF65-F5344CB8AC3E}">
        <p14:creationId xmlns:p14="http://schemas.microsoft.com/office/powerpoint/2010/main" val="17815460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D893AB5-8D0D-42CE-B08A-F44FF72B30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6779" y="264862"/>
            <a:ext cx="2073443" cy="1345615"/>
          </a:xfrm>
        </p:spPr>
        <p:txBody>
          <a:bodyPr/>
          <a:lstStyle/>
          <a:p>
            <a:r>
              <a:rPr lang="sv-SE">
                <a:cs typeface="Arial"/>
              </a:rPr>
              <a:t>Förenklat 2-årshjul</a:t>
            </a:r>
            <a:br>
              <a:rPr lang="sv-SE">
                <a:cs typeface="Arial"/>
              </a:rPr>
            </a:br>
            <a:endParaRPr lang="sv-SE">
              <a:cs typeface="Arial"/>
            </a:endParaRPr>
          </a:p>
        </p:txBody>
      </p:sp>
      <p:graphicFrame>
        <p:nvGraphicFramePr>
          <p:cNvPr id="85" name="Platshållare för innehåll 3">
            <a:extLst>
              <a:ext uri="{FF2B5EF4-FFF2-40B4-BE49-F238E27FC236}">
                <a16:creationId xmlns:a16="http://schemas.microsoft.com/office/drawing/2014/main" id="{8212FAC6-DB93-E37E-0FCC-2DFBED253D4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52345465"/>
              </p:ext>
            </p:extLst>
          </p:nvPr>
        </p:nvGraphicFramePr>
        <p:xfrm>
          <a:off x="0" y="441158"/>
          <a:ext cx="12192000" cy="685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9" name="Ellips 108">
            <a:extLst>
              <a:ext uri="{FF2B5EF4-FFF2-40B4-BE49-F238E27FC236}">
                <a16:creationId xmlns:a16="http://schemas.microsoft.com/office/drawing/2014/main" id="{DC44DDF2-CE37-DFE7-EA4B-740A2381E347}"/>
              </a:ext>
            </a:extLst>
          </p:cNvPr>
          <p:cNvSpPr/>
          <p:nvPr/>
        </p:nvSpPr>
        <p:spPr>
          <a:xfrm>
            <a:off x="5200117" y="3080469"/>
            <a:ext cx="1789889" cy="1575881"/>
          </a:xfrm>
          <a:prstGeom prst="ellipse">
            <a:avLst/>
          </a:prstGeom>
          <a:solidFill>
            <a:srgbClr val="D36247"/>
          </a:solidFill>
          <a:ln>
            <a:solidFill>
              <a:srgbClr val="D362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sv-SE" b="1"/>
              <a:t>2035: </a:t>
            </a:r>
            <a:endParaRPr lang="sv-SE"/>
          </a:p>
          <a:p>
            <a:pPr algn="ctr"/>
            <a:r>
              <a:rPr lang="sv-SE" b="1"/>
              <a:t>120 000 nya jobb</a:t>
            </a:r>
            <a:endParaRPr lang="sv-SE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364061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>
            <a:extLst>
              <a:ext uri="{FF2B5EF4-FFF2-40B4-BE49-F238E27FC236}">
                <a16:creationId xmlns:a16="http://schemas.microsoft.com/office/drawing/2014/main" id="{6DE1BBE0-DF12-4187-8EC6-93F8DC01DB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graphicFrame>
        <p:nvGraphicFramePr>
          <p:cNvPr id="7" name="Platshållare för innehåll 4">
            <a:extLst>
              <a:ext uri="{FF2B5EF4-FFF2-40B4-BE49-F238E27FC236}">
                <a16:creationId xmlns:a16="http://schemas.microsoft.com/office/drawing/2014/main" id="{524CB496-6FFD-4EFF-A982-DA5D9BEBF12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63135155"/>
              </p:ext>
            </p:extLst>
          </p:nvPr>
        </p:nvGraphicFramePr>
        <p:xfrm>
          <a:off x="656705" y="182881"/>
          <a:ext cx="10778008" cy="87338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887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689234">
                  <a:extLst>
                    <a:ext uri="{9D8B030D-6E8A-4147-A177-3AD203B41FA5}">
                      <a16:colId xmlns:a16="http://schemas.microsoft.com/office/drawing/2014/main" val="2640050973"/>
                    </a:ext>
                  </a:extLst>
                </a:gridCol>
              </a:tblGrid>
              <a:tr h="995117">
                <a:tc>
                  <a:txBody>
                    <a:bodyPr/>
                    <a:lstStyle/>
                    <a:p>
                      <a:r>
                        <a:rPr lang="sv-SE" sz="2000"/>
                        <a:t>Prioriteringar</a:t>
                      </a:r>
                      <a:br>
                        <a:rPr lang="sv-SE" sz="2000"/>
                      </a:br>
                      <a:r>
                        <a:rPr lang="sv-SE" sz="2000" b="1"/>
                        <a:t>Inför HP 2 2024-25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sv-SE" sz="2000" b="1">
                          <a:solidFill>
                            <a:schemeClr val="bg1"/>
                          </a:solidFill>
                        </a:rPr>
                        <a:t>Viktigaste utmaningar att adressera i nästa handlingsplan</a:t>
                      </a:r>
                      <a:endParaRPr lang="sv-SE" sz="20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727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b="1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ompetensförsörjning:</a:t>
                      </a:r>
                      <a:br>
                        <a:rPr lang="sv-SE" sz="1800" b="0" i="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sv-SE" sz="1800" b="0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öteborg tillvaratar och attraherar kompetens</a:t>
                      </a:r>
                      <a:endParaRPr lang="sv-SE" sz="1800">
                        <a:solidFill>
                          <a:schemeClr val="tx1"/>
                        </a:solidFill>
                      </a:endParaRPr>
                    </a:p>
                    <a:p>
                      <a:endParaRPr lang="sv-SE" sz="1800" b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lvl="0" indent="-22860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sv-SE" sz="1800"/>
                        <a:t>Hur kan vi minska kompetensbristen genom ökad delaktighet på arbetsmarknaden</a:t>
                      </a: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sv-SE" sz="1800"/>
                        <a:t>Hur säkerställer vi rätt utbildningsinsatser för att klara omställningen?</a:t>
                      </a:r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</a:pPr>
                      <a:r>
                        <a:rPr lang="sv-SE" sz="1800"/>
                        <a:t>3. Hur lockar vi hit och behåller spetskompetens?</a:t>
                      </a:r>
                      <a:br>
                        <a:rPr lang="sv-SE" sz="1800"/>
                      </a:br>
                      <a:endParaRPr lang="sv-SE" sz="1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8165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b="1"/>
                        <a:t>Attraktionskraft: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öteborg är en attraktiv plats att verka och </a:t>
                      </a:r>
                      <a:r>
                        <a:rPr lang="sv-SE" sz="180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​</a:t>
                      </a:r>
                      <a:br>
                        <a:rPr lang="sv-SE" sz="1800" b="0" i="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sv-SE" sz="18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o i, samt besöka.</a:t>
                      </a:r>
                      <a:endParaRPr lang="sv-SE" sz="1800" b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sv-SE" sz="1800"/>
                        <a:t>Hur skapar vi bättre förutsättningar för hållbara företagsetableringar? </a:t>
                      </a:r>
                    </a:p>
                    <a:p>
                      <a:pPr marL="228600" marR="0" lvl="0" indent="-22860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AutoNum type="arabicPeriod"/>
                      </a:pPr>
                      <a:r>
                        <a:rPr lang="sv-SE" sz="1800"/>
                        <a:t>Hur kan stadens processer främja utvecklingen av tillåtande miljöer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974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800" b="1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b="1"/>
                        <a:t>Infrastruktur;</a:t>
                      </a:r>
                      <a:r>
                        <a:rPr lang="sv-SE" sz="18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Göteborg har en fungerande infrastruktur och god tillgänglighet.</a:t>
                      </a:r>
                      <a:endParaRPr lang="sv-SE" sz="1800" b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marR="0" lvl="0" indent="-22860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sv-SE" sz="1800"/>
                        <a:t>Hur verkar vi för godsframkomlighet Hisingen?</a:t>
                      </a:r>
                    </a:p>
                    <a:p>
                      <a:pPr marL="228600" marR="0" lvl="0" indent="-22860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sv-SE" sz="1800"/>
                        <a:t>Hur stärker vi arbetet med regionens </a:t>
                      </a:r>
                      <a:r>
                        <a:rPr lang="sv-SE" sz="1800" err="1"/>
                        <a:t>laddinfrastruktur</a:t>
                      </a:r>
                      <a:r>
                        <a:rPr lang="sv-SE" sz="1800"/>
                        <a:t>.?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sv-SE" sz="1800"/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sv-SE" sz="1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75776">
                <a:tc>
                  <a:txBody>
                    <a:bodyPr/>
                    <a:lstStyle/>
                    <a:p>
                      <a:endParaRPr lang="sv-SE" sz="1200" b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sv-SE" sz="1000"/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sv-SE" sz="1000"/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sv-SE" sz="1000"/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sv-SE" sz="1000"/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sv-SE" sz="1000"/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sv-SE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3674919"/>
                  </a:ext>
                </a:extLst>
              </a:tr>
              <a:tr h="1246447">
                <a:tc>
                  <a:txBody>
                    <a:bodyPr/>
                    <a:lstStyle/>
                    <a:p>
                      <a:endParaRPr lang="sv-SE" sz="1600" b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sv-SE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74776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50247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>
            <a:extLst>
              <a:ext uri="{FF2B5EF4-FFF2-40B4-BE49-F238E27FC236}">
                <a16:creationId xmlns:a16="http://schemas.microsoft.com/office/drawing/2014/main" id="{6DE1BBE0-DF12-4187-8EC6-93F8DC01DB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graphicFrame>
        <p:nvGraphicFramePr>
          <p:cNvPr id="7" name="Platshållare för innehåll 4">
            <a:extLst>
              <a:ext uri="{FF2B5EF4-FFF2-40B4-BE49-F238E27FC236}">
                <a16:creationId xmlns:a16="http://schemas.microsoft.com/office/drawing/2014/main" id="{524CB496-6FFD-4EFF-A982-DA5D9BEBF12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1288082"/>
              </p:ext>
            </p:extLst>
          </p:nvPr>
        </p:nvGraphicFramePr>
        <p:xfrm>
          <a:off x="838200" y="248868"/>
          <a:ext cx="9795235" cy="89737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074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687834">
                  <a:extLst>
                    <a:ext uri="{9D8B030D-6E8A-4147-A177-3AD203B41FA5}">
                      <a16:colId xmlns:a16="http://schemas.microsoft.com/office/drawing/2014/main" val="2640050973"/>
                    </a:ext>
                  </a:extLst>
                </a:gridCol>
              </a:tblGrid>
              <a:tr h="995117">
                <a:tc>
                  <a:txBody>
                    <a:bodyPr/>
                    <a:lstStyle/>
                    <a:p>
                      <a:r>
                        <a:rPr lang="sv-SE" sz="2000"/>
                        <a:t>Prioriteringar</a:t>
                      </a:r>
                      <a:br>
                        <a:rPr lang="sv-SE" sz="2000"/>
                      </a:br>
                      <a:r>
                        <a:rPr lang="sv-SE" sz="2000" b="1"/>
                        <a:t>Inför HP 2 2024-25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sv-SE" sz="2000" b="1">
                          <a:solidFill>
                            <a:schemeClr val="bg1"/>
                          </a:solidFill>
                        </a:rPr>
                        <a:t>Viktigaste utmaningar att adressera i nästa handlingsplan</a:t>
                      </a:r>
                      <a:endParaRPr lang="sv-SE" sz="20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92613">
                <a:tc>
                  <a:txBody>
                    <a:bodyPr/>
                    <a:lstStyle/>
                    <a:p>
                      <a:r>
                        <a:rPr lang="sv-SE" sz="1800" b="1"/>
                        <a:t>Markberedskap;</a:t>
                      </a:r>
                    </a:p>
                    <a:p>
                      <a:r>
                        <a:rPr lang="sv-SE" sz="18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öteborg erbjuder bra lokaler och verksamhetsmark i rätt lägen.</a:t>
                      </a:r>
                      <a:endParaRPr lang="sv-SE" sz="1800" b="1"/>
                    </a:p>
                    <a:p>
                      <a:endParaRPr lang="sv-SE" sz="1800" b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sv-SE" sz="1800"/>
                        <a:t>Hur kan vi verka för mer kommunal mark för industri och logistik i rätt lägen</a:t>
                      </a:r>
                    </a:p>
                    <a:p>
                      <a:pPr marL="228600" marR="0" lvl="0" indent="-22860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</a:pPr>
                      <a:r>
                        <a:rPr lang="sv-SE" sz="1800"/>
                        <a:t>Hur kan vi snabba upp processer för att  kunna ändra detaljplaner om det behövs?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endParaRPr lang="sv-SE" sz="1800"/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sv-SE" sz="1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8165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b="1"/>
                        <a:t>Företagsklimat;</a:t>
                      </a:r>
                      <a:endParaRPr lang="en-US" sz="1800" b="0" i="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rtl="0" fontAlgn="base"/>
                      <a:r>
                        <a:rPr lang="sv-SE" sz="18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 Göteborg är det enkelt att driva företag.</a:t>
                      </a:r>
                      <a:endParaRPr lang="en-US" sz="1800" b="0" i="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800" b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sv-SE" sz="1800"/>
                        <a:t>Hur kan vi påverka attityder från politiker och tjänstemän?</a:t>
                      </a:r>
                    </a:p>
                    <a:p>
                      <a:pPr marL="228600" marR="0" lvl="0" indent="-22860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sv-SE" sz="1800"/>
                        <a:t>Hur kan vi öka kundnöjdheten hos de företag som har kontakt med staden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974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b="1"/>
                        <a:t>Innovationskraft;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öteborg stärker näringslivets förutsättningar för innovation.</a:t>
                      </a:r>
                      <a:endParaRPr lang="sv-SE" sz="1800" b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sv-SE" sz="1800"/>
                        <a:t>Hur kan vi fortsätta utveckla arbetssätt för innovations/funktionsupphandling i staden?</a:t>
                      </a: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sv-SE" sz="1800"/>
                        <a:t>Hur skalar vi upp innovationer från test och pilotnivå till storskalighet inom stadens olika ansvarområden?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sv-SE" sz="1800"/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sv-SE" sz="1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75776">
                <a:tc>
                  <a:txBody>
                    <a:bodyPr/>
                    <a:lstStyle/>
                    <a:p>
                      <a:endParaRPr lang="sv-SE" sz="1200" b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sv-SE" sz="1000"/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sv-SE" sz="1000"/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sv-SE" sz="1000"/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sv-SE" sz="1000"/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sv-SE" sz="1000"/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sv-SE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3674919"/>
                  </a:ext>
                </a:extLst>
              </a:tr>
              <a:tr h="1246447">
                <a:tc>
                  <a:txBody>
                    <a:bodyPr/>
                    <a:lstStyle/>
                    <a:p>
                      <a:endParaRPr lang="sv-SE" sz="1600" b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sv-SE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74776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53426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Underrubrik 4">
            <a:extLst>
              <a:ext uri="{FF2B5EF4-FFF2-40B4-BE49-F238E27FC236}">
                <a16:creationId xmlns:a16="http://schemas.microsoft.com/office/drawing/2014/main" id="{5334AF2E-BAAF-C247-2070-B08380F0956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6C184C28-9633-3F01-64E8-60987BAE18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488871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D8URRfBtC07JDGolJ3j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RG Basic">
  <a:themeElements>
    <a:clrScheme name="Anpassat 106">
      <a:dk1>
        <a:sysClr val="windowText" lastClr="000000"/>
      </a:dk1>
      <a:lt1>
        <a:sysClr val="window" lastClr="FFFFFF"/>
      </a:lt1>
      <a:dk2>
        <a:srgbClr val="3B5776"/>
      </a:dk2>
      <a:lt2>
        <a:srgbClr val="EDEBE3"/>
      </a:lt2>
      <a:accent1>
        <a:srgbClr val="8FB8CA"/>
      </a:accent1>
      <a:accent2>
        <a:srgbClr val="D36248"/>
      </a:accent2>
      <a:accent3>
        <a:srgbClr val="36646B"/>
      </a:accent3>
      <a:accent4>
        <a:srgbClr val="EAB39E"/>
      </a:accent4>
      <a:accent5>
        <a:srgbClr val="7DB094"/>
      </a:accent5>
      <a:accent6>
        <a:srgbClr val="909090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.potx" id="{431757C3-2CB9-42E5-A312-9E227955CC5C}" vid="{DDC2BCFA-9A53-4902-BE0C-BE297FF3B5A9}"/>
    </a:ext>
  </a:extLst>
</a:theme>
</file>

<file path=ppt/theme/theme2.xml><?xml version="1.0" encoding="utf-8"?>
<a:theme xmlns:a="http://schemas.openxmlformats.org/drawingml/2006/main" name="BRG Blue">
  <a:themeElements>
    <a:clrScheme name="Anpassat 104">
      <a:dk1>
        <a:sysClr val="windowText" lastClr="000000"/>
      </a:dk1>
      <a:lt1>
        <a:sysClr val="window" lastClr="FFFFFF"/>
      </a:lt1>
      <a:dk2>
        <a:srgbClr val="D36248"/>
      </a:dk2>
      <a:lt2>
        <a:srgbClr val="E7B39E"/>
      </a:lt2>
      <a:accent1>
        <a:srgbClr val="C6D7E2"/>
      </a:accent1>
      <a:accent2>
        <a:srgbClr val="8AAEC4"/>
      </a:accent2>
      <a:accent3>
        <a:srgbClr val="6997B3"/>
      </a:accent3>
      <a:accent4>
        <a:srgbClr val="47748F"/>
      </a:accent4>
      <a:accent5>
        <a:srgbClr val="335367"/>
      </a:accent5>
      <a:accent6>
        <a:srgbClr val="223542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.potx" id="{431757C3-2CB9-42E5-A312-9E227955CC5C}" vid="{16C99662-BD46-436F-821A-66824B2F3367}"/>
    </a:ext>
  </a:extLst>
</a:theme>
</file>

<file path=ppt/theme/theme3.xml><?xml version="1.0" encoding="utf-8"?>
<a:theme xmlns:a="http://schemas.openxmlformats.org/drawingml/2006/main" name="BRG Green">
  <a:themeElements>
    <a:clrScheme name="Anpassat 101">
      <a:dk1>
        <a:sysClr val="windowText" lastClr="000000"/>
      </a:dk1>
      <a:lt1>
        <a:sysClr val="window" lastClr="FFFFFF"/>
      </a:lt1>
      <a:dk2>
        <a:srgbClr val="D36248"/>
      </a:dk2>
      <a:lt2>
        <a:srgbClr val="E7B39E"/>
      </a:lt2>
      <a:accent1>
        <a:srgbClr val="B7D1C0"/>
      </a:accent1>
      <a:accent2>
        <a:srgbClr val="8FBB9F"/>
      </a:accent2>
      <a:accent3>
        <a:srgbClr val="6AA27E"/>
      </a:accent3>
      <a:accent4>
        <a:srgbClr val="548666"/>
      </a:accent4>
      <a:accent5>
        <a:srgbClr val="2C5A58"/>
      </a:accent5>
      <a:accent6>
        <a:srgbClr val="1B3235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.potx" id="{431757C3-2CB9-42E5-A312-9E227955CC5C}" vid="{3306ED6A-1664-4732-9192-47A1979A9627}"/>
    </a:ext>
  </a:extLst>
</a:theme>
</file>

<file path=ppt/theme/theme4.xml><?xml version="1.0" encoding="utf-8"?>
<a:theme xmlns:a="http://schemas.openxmlformats.org/drawingml/2006/main" name="BRG Red">
  <a:themeElements>
    <a:clrScheme name="Anpassat 105">
      <a:dk1>
        <a:sysClr val="windowText" lastClr="000000"/>
      </a:dk1>
      <a:lt1>
        <a:sysClr val="window" lastClr="FFFFFF"/>
      </a:lt1>
      <a:dk2>
        <a:srgbClr val="2B4158"/>
      </a:dk2>
      <a:lt2>
        <a:srgbClr val="7899BC"/>
      </a:lt2>
      <a:accent1>
        <a:srgbClr val="EEC7B8"/>
      </a:accent1>
      <a:accent2>
        <a:srgbClr val="E2A38A"/>
      </a:accent2>
      <a:accent3>
        <a:srgbClr val="DB8B6B"/>
      </a:accent3>
      <a:accent4>
        <a:srgbClr val="CD5F33"/>
      </a:accent4>
      <a:accent5>
        <a:srgbClr val="9B4826"/>
      </a:accent5>
      <a:accent6>
        <a:srgbClr val="722B1B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.potx" id="{431757C3-2CB9-42E5-A312-9E227955CC5C}" vid="{9A94F675-6BC0-400A-B0CB-130DA95789E5}"/>
    </a:ext>
  </a:extLst>
</a:theme>
</file>

<file path=ppt/theme/theme5.xml><?xml version="1.0" encoding="utf-8"?>
<a:theme xmlns:a="http://schemas.openxmlformats.org/drawingml/2006/main" name="BRG Advanced">
  <a:themeElements>
    <a:clrScheme name="BRG">
      <a:dk1>
        <a:sysClr val="windowText" lastClr="000000"/>
      </a:dk1>
      <a:lt1>
        <a:sysClr val="window" lastClr="FFFFFF"/>
      </a:lt1>
      <a:dk2>
        <a:srgbClr val="3B5776"/>
      </a:dk2>
      <a:lt2>
        <a:srgbClr val="EDEBE3"/>
      </a:lt2>
      <a:accent1>
        <a:srgbClr val="8FB8CA"/>
      </a:accent1>
      <a:accent2>
        <a:srgbClr val="D36248"/>
      </a:accent2>
      <a:accent3>
        <a:srgbClr val="36646B"/>
      </a:accent3>
      <a:accent4>
        <a:srgbClr val="EAB39E"/>
      </a:accent4>
      <a:accent5>
        <a:srgbClr val="98ADAE"/>
      </a:accent5>
      <a:accent6>
        <a:srgbClr val="E5EDF2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.potx" id="{431757C3-2CB9-42E5-A312-9E227955CC5C}" vid="{5E7054B6-B624-489E-9A3B-C618394B5944}"/>
    </a:ext>
  </a:extLst>
</a:theme>
</file>

<file path=ppt/theme/theme6.xml><?xml version="1.0" encoding="utf-8"?>
<a:theme xmlns:a="http://schemas.openxmlformats.org/drawingml/2006/main" name="BRG Utfallande bild">
  <a:themeElements>
    <a:clrScheme name="BRG">
      <a:dk1>
        <a:sysClr val="windowText" lastClr="000000"/>
      </a:dk1>
      <a:lt1>
        <a:sysClr val="window" lastClr="FFFFFF"/>
      </a:lt1>
      <a:dk2>
        <a:srgbClr val="3B5776"/>
      </a:dk2>
      <a:lt2>
        <a:srgbClr val="EDEBE3"/>
      </a:lt2>
      <a:accent1>
        <a:srgbClr val="8FB8CA"/>
      </a:accent1>
      <a:accent2>
        <a:srgbClr val="D36248"/>
      </a:accent2>
      <a:accent3>
        <a:srgbClr val="36646B"/>
      </a:accent3>
      <a:accent4>
        <a:srgbClr val="EAB39E"/>
      </a:accent4>
      <a:accent5>
        <a:srgbClr val="98ADAE"/>
      </a:accent5>
      <a:accent6>
        <a:srgbClr val="E5EDF2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.potx" id="{431757C3-2CB9-42E5-A312-9E227955CC5C}" vid="{E9931B19-2F70-45CF-B58A-C94907540A5A}"/>
    </a:ext>
  </a:extLst>
</a:theme>
</file>

<file path=ppt/theme/theme7.xml><?xml version="1.0" encoding="utf-8"?>
<a:theme xmlns:a="http://schemas.openxmlformats.org/drawingml/2006/main" name="1_BRG Basic">
  <a:themeElements>
    <a:clrScheme name="Anpassat 106">
      <a:dk1>
        <a:sysClr val="windowText" lastClr="000000"/>
      </a:dk1>
      <a:lt1>
        <a:sysClr val="window" lastClr="FFFFFF"/>
      </a:lt1>
      <a:dk2>
        <a:srgbClr val="3B5776"/>
      </a:dk2>
      <a:lt2>
        <a:srgbClr val="EDEBE3"/>
      </a:lt2>
      <a:accent1>
        <a:srgbClr val="8FB8CA"/>
      </a:accent1>
      <a:accent2>
        <a:srgbClr val="D36248"/>
      </a:accent2>
      <a:accent3>
        <a:srgbClr val="36646B"/>
      </a:accent3>
      <a:accent4>
        <a:srgbClr val="EAB39E"/>
      </a:accent4>
      <a:accent5>
        <a:srgbClr val="7DB094"/>
      </a:accent5>
      <a:accent6>
        <a:srgbClr val="909090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4F745506-321D-4D15-90EB-C111E9433143}" vid="{BA2A30B1-F3DC-4468-B696-E028C913C71C}"/>
    </a:ext>
  </a:extLst>
</a:theme>
</file>

<file path=ppt/theme/theme8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044DA283EACB04CB3FDB80B7579E6DD" ma:contentTypeVersion="15" ma:contentTypeDescription="Skapa ett nytt dokument." ma:contentTypeScope="" ma:versionID="22b88be9fe2dd8f354fdb31a6e568404">
  <xsd:schema xmlns:xsd="http://www.w3.org/2001/XMLSchema" xmlns:xs="http://www.w3.org/2001/XMLSchema" xmlns:p="http://schemas.microsoft.com/office/2006/metadata/properties" xmlns:ns2="18018ebf-c118-4457-bc4c-627bb2cda996" xmlns:ns3="81115a79-ed71-43f8-af43-5c3a25bdf01a" targetNamespace="http://schemas.microsoft.com/office/2006/metadata/properties" ma:root="true" ma:fieldsID="f7ac8902a56a6fbb742539f56081bef6" ns2:_="" ns3:_="">
    <xsd:import namespace="18018ebf-c118-4457-bc4c-627bb2cda996"/>
    <xsd:import namespace="81115a79-ed71-43f8-af43-5c3a25bdf0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018ebf-c118-4457-bc4c-627bb2cda99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Bildmarkeringar" ma:readOnly="false" ma:fieldId="{5cf76f15-5ced-4ddc-b409-7134ff3c332f}" ma:taxonomyMulti="true" ma:sspId="bbc6842c-bab5-4d9d-b230-1af466340fa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115a79-ed71-43f8-af43-5c3a25bdf01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lat med information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21b38749-22a3-499a-b32a-c2797ccf6f6a}" ma:internalName="TaxCatchAll" ma:showField="CatchAllData" ma:web="81115a79-ed71-43f8-af43-5c3a25bdf01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8018ebf-c118-4457-bc4c-627bb2cda996">
      <Terms xmlns="http://schemas.microsoft.com/office/infopath/2007/PartnerControls"/>
    </lcf76f155ced4ddcb4097134ff3c332f>
    <TaxCatchAll xmlns="81115a79-ed71-43f8-af43-5c3a25bdf01a" xsi:nil="true"/>
  </documentManagement>
</p:properties>
</file>

<file path=customXml/itemProps1.xml><?xml version="1.0" encoding="utf-8"?>
<ds:datastoreItem xmlns:ds="http://schemas.openxmlformats.org/officeDocument/2006/customXml" ds:itemID="{6FC02792-2458-433B-BE05-297F2410EA15}">
  <ds:schemaRefs>
    <ds:schemaRef ds:uri="18018ebf-c118-4457-bc4c-627bb2cda996"/>
    <ds:schemaRef ds:uri="81115a79-ed71-43f8-af43-5c3a25bdf01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5936B1C5-223F-4BCC-B0F4-1A584FC5718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8897FF1-AE70-40A7-9483-C88F6AE3AB8A}">
  <ds:schemaRefs>
    <ds:schemaRef ds:uri="18018ebf-c118-4457-bc4c-627bb2cda996"/>
    <ds:schemaRef ds:uri="81115a79-ed71-43f8-af43-5c3a25bdf01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RG_Mallsidor</Template>
  <TotalTime>0</TotalTime>
  <Words>517</Words>
  <Application>Microsoft Office PowerPoint</Application>
  <PresentationFormat>Bredbild</PresentationFormat>
  <Paragraphs>109</Paragraphs>
  <Slides>9</Slides>
  <Notes>3</Notes>
  <HiddenSlides>0</HiddenSlides>
  <MMClips>0</MMClips>
  <ScaleCrop>false</ScaleCrop>
  <HeadingPairs>
    <vt:vector size="6" baseType="variant">
      <vt:variant>
        <vt:lpstr>Använt teckensnitt</vt:lpstr>
      </vt:variant>
      <vt:variant>
        <vt:i4>2</vt:i4>
      </vt:variant>
      <vt:variant>
        <vt:lpstr>Tema</vt:lpstr>
      </vt:variant>
      <vt:variant>
        <vt:i4>7</vt:i4>
      </vt:variant>
      <vt:variant>
        <vt:lpstr>Bildrubriker</vt:lpstr>
      </vt:variant>
      <vt:variant>
        <vt:i4>9</vt:i4>
      </vt:variant>
    </vt:vector>
  </HeadingPairs>
  <TitlesOfParts>
    <vt:vector size="18" baseType="lpstr">
      <vt:lpstr>Arial</vt:lpstr>
      <vt:lpstr>Calibri</vt:lpstr>
      <vt:lpstr>BRG Basic</vt:lpstr>
      <vt:lpstr>BRG Blue</vt:lpstr>
      <vt:lpstr>BRG Green</vt:lpstr>
      <vt:lpstr>BRG Red</vt:lpstr>
      <vt:lpstr>BRG Advanced</vt:lpstr>
      <vt:lpstr>BRG Utfallande bild</vt:lpstr>
      <vt:lpstr>1_BRG Basic</vt:lpstr>
      <vt:lpstr>Framdrift näringslivsstrategiska programmet - Utfall HP 2 - Inspel HP 3- process samt avgränsningar</vt:lpstr>
      <vt:lpstr>Status/utfall handlingsplan 2 (2022-23)</vt:lpstr>
      <vt:lpstr>Inspel HP 3- process samt avgränsningar</vt:lpstr>
      <vt:lpstr> HP 3 – (2024-25) föreslagen process 2023</vt:lpstr>
      <vt:lpstr>PowerPoint-presentation</vt:lpstr>
      <vt:lpstr>Förenklat 2-årshjul </vt:lpstr>
      <vt:lpstr>PowerPoint-presentation</vt:lpstr>
      <vt:lpstr>PowerPoint-presentation</vt:lpstr>
      <vt:lpstr>PowerPoint-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0512 ledningsgrupp</dc:title>
  <dc:creator>Johan Gräsman</dc:creator>
  <cp:lastModifiedBy>Pia Areblad</cp:lastModifiedBy>
  <cp:revision>1</cp:revision>
  <cp:lastPrinted>2020-06-22T08:35:23Z</cp:lastPrinted>
  <dcterms:created xsi:type="dcterms:W3CDTF">2019-08-30T11:50:13Z</dcterms:created>
  <dcterms:modified xsi:type="dcterms:W3CDTF">2023-01-29T16:47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044DA283EACB04CB3FDB80B7579E6DD</vt:lpwstr>
  </property>
  <property fmtid="{D5CDD505-2E9C-101B-9397-08002B2CF9AE}" pid="3" name="MediaServiceImageTags">
    <vt:lpwstr/>
  </property>
</Properties>
</file>